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1" r:id="rId4"/>
    <p:sldMasterId id="2147483715" r:id="rId5"/>
    <p:sldMasterId id="2147483700" r:id="rId6"/>
    <p:sldMasterId id="2147483757" r:id="rId7"/>
    <p:sldMasterId id="2147483771" r:id="rId8"/>
    <p:sldMasterId id="2147483785" r:id="rId9"/>
    <p:sldMasterId id="2147483799" r:id="rId10"/>
  </p:sldMasterIdLst>
  <p:notesMasterIdLst>
    <p:notesMasterId r:id="rId35"/>
  </p:notesMasterIdLst>
  <p:handoutMasterIdLst>
    <p:handoutMasterId r:id="rId36"/>
  </p:handoutMasterIdLst>
  <p:sldIdLst>
    <p:sldId id="256" r:id="rId11"/>
    <p:sldId id="368" r:id="rId12"/>
    <p:sldId id="369" r:id="rId13"/>
    <p:sldId id="378" r:id="rId14"/>
    <p:sldId id="379" r:id="rId15"/>
    <p:sldId id="380" r:id="rId16"/>
    <p:sldId id="260" r:id="rId17"/>
    <p:sldId id="2147475263" r:id="rId18"/>
    <p:sldId id="261" r:id="rId19"/>
    <p:sldId id="2147475284" r:id="rId20"/>
    <p:sldId id="2147475285" r:id="rId21"/>
    <p:sldId id="2147475286" r:id="rId22"/>
    <p:sldId id="2147475287" r:id="rId23"/>
    <p:sldId id="1668" r:id="rId24"/>
    <p:sldId id="2147475300" r:id="rId25"/>
    <p:sldId id="2147475302" r:id="rId26"/>
    <p:sldId id="371" r:id="rId27"/>
    <p:sldId id="381" r:id="rId28"/>
    <p:sldId id="372" r:id="rId29"/>
    <p:sldId id="2147475303" r:id="rId30"/>
    <p:sldId id="375" r:id="rId31"/>
    <p:sldId id="376" r:id="rId32"/>
    <p:sldId id="382" r:id="rId33"/>
    <p:sldId id="272"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 userDrawn="1">
          <p15:clr>
            <a:srgbClr val="A4A3A4"/>
          </p15:clr>
        </p15:guide>
        <p15:guide id="2" pos="234" userDrawn="1">
          <p15:clr>
            <a:srgbClr val="A4A3A4"/>
          </p15:clr>
        </p15:guide>
        <p15:guide id="3" orient="horz" pos="3974" userDrawn="1">
          <p15:clr>
            <a:srgbClr val="A4A3A4"/>
          </p15:clr>
        </p15:guide>
        <p15:guide id="4" pos="7355" userDrawn="1">
          <p15:clr>
            <a:srgbClr val="A4A3A4"/>
          </p15:clr>
        </p15:guide>
        <p15:guide id="5" pos="1708" userDrawn="1">
          <p15:clr>
            <a:srgbClr val="A4A3A4"/>
          </p15:clr>
        </p15:guide>
        <p15:guide id="6" orient="horz" pos="867" userDrawn="1">
          <p15:clr>
            <a:srgbClr val="A4A3A4"/>
          </p15:clr>
        </p15:guide>
        <p15:guide id="7" orient="horz" pos="3634" userDrawn="1">
          <p15:clr>
            <a:srgbClr val="A4A3A4"/>
          </p15:clr>
        </p15:guide>
        <p15:guide id="8" pos="75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D62"/>
    <a:srgbClr val="000000"/>
    <a:srgbClr val="F08900"/>
    <a:srgbClr val="0563C1"/>
    <a:srgbClr val="1E5DF8"/>
    <a:srgbClr val="003088"/>
    <a:srgbClr val="FF6900"/>
    <a:srgbClr val="626262"/>
    <a:srgbClr val="FFFFFF"/>
    <a:srgbClr val="00BE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7D83F4E-A7CF-41A6-B128-FA7892A0C776}" v="2" dt="2024-03-13T19:02:02.9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96" autoAdjust="0"/>
    <p:restoredTop sz="82567" autoAdjust="0"/>
  </p:normalViewPr>
  <p:slideViewPr>
    <p:cSldViewPr snapToGrid="0">
      <p:cViewPr varScale="1">
        <p:scale>
          <a:sx n="91" d="100"/>
          <a:sy n="91" d="100"/>
        </p:scale>
        <p:origin x="592" y="52"/>
      </p:cViewPr>
      <p:guideLst>
        <p:guide orient="horz" pos="323"/>
        <p:guide pos="234"/>
        <p:guide orient="horz" pos="3974"/>
        <p:guide pos="7355"/>
        <p:guide pos="1708"/>
        <p:guide orient="horz" pos="867"/>
        <p:guide orient="horz" pos="3634"/>
        <p:guide pos="75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21" Type="http://schemas.openxmlformats.org/officeDocument/2006/relationships/slide" Target="slides/slide11.xml"/><Relationship Id="rId34" Type="http://schemas.openxmlformats.org/officeDocument/2006/relationships/slide" Target="slides/slide24.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ffin, Tom (STFC,RAL,SC)" userId="82a110c9-e131-4d79-9c95-3f50723adc1c" providerId="ADAL" clId="{07D83F4E-A7CF-41A6-B128-FA7892A0C776}"/>
    <pc:docChg chg="undo custSel addSld delSld modSld">
      <pc:chgData name="Griffin, Tom (STFC,RAL,SC)" userId="82a110c9-e131-4d79-9c95-3f50723adc1c" providerId="ADAL" clId="{07D83F4E-A7CF-41A6-B128-FA7892A0C776}" dt="2024-03-13T19:02:08.229" v="298" actId="20577"/>
      <pc:docMkLst>
        <pc:docMk/>
      </pc:docMkLst>
      <pc:sldChg chg="del">
        <pc:chgData name="Griffin, Tom (STFC,RAL,SC)" userId="82a110c9-e131-4d79-9c95-3f50723adc1c" providerId="ADAL" clId="{07D83F4E-A7CF-41A6-B128-FA7892A0C776}" dt="2024-03-13T18:59:41.790" v="0" actId="47"/>
        <pc:sldMkLst>
          <pc:docMk/>
          <pc:sldMk cId="1325711711" sldId="415"/>
        </pc:sldMkLst>
      </pc:sldChg>
      <pc:sldChg chg="modSp add mod">
        <pc:chgData name="Griffin, Tom (STFC,RAL,SC)" userId="82a110c9-e131-4d79-9c95-3f50723adc1c" providerId="ADAL" clId="{07D83F4E-A7CF-41A6-B128-FA7892A0C776}" dt="2024-03-13T19:00:29.665" v="108" actId="20577"/>
        <pc:sldMkLst>
          <pc:docMk/>
          <pc:sldMk cId="1203331771" sldId="2142533572"/>
        </pc:sldMkLst>
        <pc:spChg chg="mod">
          <ac:chgData name="Griffin, Tom (STFC,RAL,SC)" userId="82a110c9-e131-4d79-9c95-3f50723adc1c" providerId="ADAL" clId="{07D83F4E-A7CF-41A6-B128-FA7892A0C776}" dt="2024-03-13T18:59:55.902" v="17" actId="20577"/>
          <ac:spMkLst>
            <pc:docMk/>
            <pc:sldMk cId="1203331771" sldId="2142533572"/>
            <ac:spMk id="2" creationId="{FBE36042-95C2-7377-BC72-75FF014C4285}"/>
          </ac:spMkLst>
        </pc:spChg>
        <pc:spChg chg="mod">
          <ac:chgData name="Griffin, Tom (STFC,RAL,SC)" userId="82a110c9-e131-4d79-9c95-3f50723adc1c" providerId="ADAL" clId="{07D83F4E-A7CF-41A6-B128-FA7892A0C776}" dt="2024-03-13T19:00:29.665" v="108" actId="20577"/>
          <ac:spMkLst>
            <pc:docMk/>
            <pc:sldMk cId="1203331771" sldId="2142533572"/>
            <ac:spMk id="3" creationId="{7F53E6FF-C763-A64D-289A-D99501DC8D0E}"/>
          </ac:spMkLst>
        </pc:spChg>
      </pc:sldChg>
      <pc:sldChg chg="modSp add mod">
        <pc:chgData name="Griffin, Tom (STFC,RAL,SC)" userId="82a110c9-e131-4d79-9c95-3f50723adc1c" providerId="ADAL" clId="{07D83F4E-A7CF-41A6-B128-FA7892A0C776}" dt="2024-03-13T19:01:36.055" v="283" actId="20577"/>
        <pc:sldMkLst>
          <pc:docMk/>
          <pc:sldMk cId="232960069" sldId="2142533573"/>
        </pc:sldMkLst>
        <pc:spChg chg="mod">
          <ac:chgData name="Griffin, Tom (STFC,RAL,SC)" userId="82a110c9-e131-4d79-9c95-3f50723adc1c" providerId="ADAL" clId="{07D83F4E-A7CF-41A6-B128-FA7892A0C776}" dt="2024-03-13T19:01:13.388" v="196" actId="20577"/>
          <ac:spMkLst>
            <pc:docMk/>
            <pc:sldMk cId="232960069" sldId="2142533573"/>
            <ac:spMk id="2" creationId="{FBE36042-95C2-7377-BC72-75FF014C4285}"/>
          </ac:spMkLst>
        </pc:spChg>
        <pc:spChg chg="mod">
          <ac:chgData name="Griffin, Tom (STFC,RAL,SC)" userId="82a110c9-e131-4d79-9c95-3f50723adc1c" providerId="ADAL" clId="{07D83F4E-A7CF-41A6-B128-FA7892A0C776}" dt="2024-03-13T19:01:36.055" v="283" actId="20577"/>
          <ac:spMkLst>
            <pc:docMk/>
            <pc:sldMk cId="232960069" sldId="2142533573"/>
            <ac:spMk id="3" creationId="{7F53E6FF-C763-A64D-289A-D99501DC8D0E}"/>
          </ac:spMkLst>
        </pc:spChg>
      </pc:sldChg>
      <pc:sldChg chg="modSp add mod">
        <pc:chgData name="Griffin, Tom (STFC,RAL,SC)" userId="82a110c9-e131-4d79-9c95-3f50723adc1c" providerId="ADAL" clId="{07D83F4E-A7CF-41A6-B128-FA7892A0C776}" dt="2024-03-13T19:02:08.229" v="298" actId="20577"/>
        <pc:sldMkLst>
          <pc:docMk/>
          <pc:sldMk cId="3398662355" sldId="2142533574"/>
        </pc:sldMkLst>
        <pc:spChg chg="mod">
          <ac:chgData name="Griffin, Tom (STFC,RAL,SC)" userId="82a110c9-e131-4d79-9c95-3f50723adc1c" providerId="ADAL" clId="{07D83F4E-A7CF-41A6-B128-FA7892A0C776}" dt="2024-03-13T19:02:08.229" v="298" actId="20577"/>
          <ac:spMkLst>
            <pc:docMk/>
            <pc:sldMk cId="3398662355" sldId="2142533574"/>
            <ac:spMk id="2" creationId="{FBE36042-95C2-7377-BC72-75FF014C428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6B3E15-D058-4A38-BBF4-ECF5AFDE0DB3}"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GB"/>
        </a:p>
      </dgm:t>
    </dgm:pt>
    <dgm:pt modelId="{E3558EDB-A409-4234-B712-47181D6C04A8}">
      <dgm:prSet phldrT="[Text]" custT="1"/>
      <dgm:spPr>
        <a:solidFill>
          <a:schemeClr val="tx1"/>
        </a:solidFill>
      </dgm:spPr>
      <dgm:t>
        <a:bodyPr/>
        <a:lstStyle/>
        <a:p>
          <a:r>
            <a:rPr lang="en-GB" sz="1400" b="0">
              <a:latin typeface="Arial" panose="020B0604020202020204" pitchFamily="34" charset="0"/>
              <a:cs typeface="Arial" panose="020B0604020202020204" pitchFamily="34" charset="0"/>
            </a:rPr>
            <a:t>R&amp;I Infrastructure Budgets within UKRI</a:t>
          </a:r>
        </a:p>
      </dgm:t>
    </dgm:pt>
    <dgm:pt modelId="{690B31F4-CA50-4089-B8CB-BD125BB00997}" type="parTrans" cxnId="{9CA41EAF-72DA-4EC0-988A-5C63B318F8DA}">
      <dgm:prSet/>
      <dgm:spPr/>
      <dgm:t>
        <a:bodyPr/>
        <a:lstStyle/>
        <a:p>
          <a:endParaRPr lang="en-GB">
            <a:latin typeface="Arial" panose="020B0604020202020204" pitchFamily="34" charset="0"/>
            <a:cs typeface="Arial" panose="020B0604020202020204" pitchFamily="34" charset="0"/>
          </a:endParaRPr>
        </a:p>
      </dgm:t>
    </dgm:pt>
    <dgm:pt modelId="{0703A4AC-5F94-4835-8CEF-FB9625DE9CDF}" type="sibTrans" cxnId="{9CA41EAF-72DA-4EC0-988A-5C63B318F8DA}">
      <dgm:prSet/>
      <dgm:spPr/>
      <dgm:t>
        <a:bodyPr/>
        <a:lstStyle/>
        <a:p>
          <a:endParaRPr lang="en-GB">
            <a:latin typeface="Arial" panose="020B0604020202020204" pitchFamily="34" charset="0"/>
            <a:cs typeface="Arial" panose="020B0604020202020204" pitchFamily="34" charset="0"/>
          </a:endParaRPr>
        </a:p>
      </dgm:t>
    </dgm:pt>
    <dgm:pt modelId="{41F02695-4217-4AAC-AAF0-6FF1769AEDB5}">
      <dgm:prSet custT="1"/>
      <dgm:spPr>
        <a:solidFill>
          <a:schemeClr val="accent6">
            <a:lumMod val="40000"/>
            <a:lumOff val="60000"/>
          </a:schemeClr>
        </a:solidFill>
      </dgm:spPr>
      <dgm:t>
        <a:bodyPr/>
        <a:lstStyle/>
        <a:p>
          <a:r>
            <a:rPr lang="en-GB" sz="1200">
              <a:solidFill>
                <a:schemeClr val="accent6">
                  <a:lumMod val="50000"/>
                </a:schemeClr>
              </a:solidFill>
              <a:latin typeface="Arial" panose="020B0604020202020204" pitchFamily="34" charset="0"/>
              <a:cs typeface="Arial" panose="020B0604020202020204" pitchFamily="34" charset="0"/>
            </a:rPr>
            <a:t>WCL - Research Councils</a:t>
          </a:r>
        </a:p>
        <a:p>
          <a:r>
            <a:rPr lang="en-GB" sz="1200">
              <a:solidFill>
                <a:schemeClr val="accent6">
                  <a:lumMod val="50000"/>
                </a:schemeClr>
              </a:solidFill>
              <a:latin typeface="Arial" panose="020B0604020202020204" pitchFamily="34" charset="0"/>
              <a:cs typeface="Arial" panose="020B0604020202020204" pitchFamily="34" charset="0"/>
            </a:rPr>
            <a:t>£1,070M</a:t>
          </a:r>
        </a:p>
      </dgm:t>
    </dgm:pt>
    <dgm:pt modelId="{D8061349-1F76-4A0E-A43A-9415FE48506E}" type="parTrans" cxnId="{FC6854CF-1A36-45C2-A88E-63EC62E5A0AE}">
      <dgm:prSet/>
      <dgm:spPr/>
      <dgm:t>
        <a:bodyPr/>
        <a:lstStyle/>
        <a:p>
          <a:endParaRPr lang="en-GB">
            <a:latin typeface="Arial" panose="020B0604020202020204" pitchFamily="34" charset="0"/>
            <a:cs typeface="Arial" panose="020B0604020202020204" pitchFamily="34" charset="0"/>
          </a:endParaRPr>
        </a:p>
      </dgm:t>
    </dgm:pt>
    <dgm:pt modelId="{C2EC0F1B-DF17-40F5-A0C9-E54417DBC2BC}" type="sibTrans" cxnId="{FC6854CF-1A36-45C2-A88E-63EC62E5A0AE}">
      <dgm:prSet/>
      <dgm:spPr/>
      <dgm:t>
        <a:bodyPr/>
        <a:lstStyle/>
        <a:p>
          <a:endParaRPr lang="en-GB">
            <a:latin typeface="Arial" panose="020B0604020202020204" pitchFamily="34" charset="0"/>
            <a:cs typeface="Arial" panose="020B0604020202020204" pitchFamily="34" charset="0"/>
          </a:endParaRPr>
        </a:p>
      </dgm:t>
    </dgm:pt>
    <dgm:pt modelId="{31C67234-1A76-43E2-9FB7-D9FD0ABC1C56}">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Calls and allocations to universities and institutes</a:t>
          </a:r>
        </a:p>
      </dgm:t>
    </dgm:pt>
    <dgm:pt modelId="{2B59A82A-AF93-4F32-9A2E-B69861EEDEF1}" type="parTrans" cxnId="{AD08A66F-4B93-4E85-A291-C1A0A64FEF5D}">
      <dgm:prSet/>
      <dgm:spPr/>
      <dgm:t>
        <a:bodyPr/>
        <a:lstStyle/>
        <a:p>
          <a:endParaRPr lang="en-GB">
            <a:latin typeface="Arial" panose="020B0604020202020204" pitchFamily="34" charset="0"/>
            <a:cs typeface="Arial" panose="020B0604020202020204" pitchFamily="34" charset="0"/>
          </a:endParaRPr>
        </a:p>
      </dgm:t>
    </dgm:pt>
    <dgm:pt modelId="{9589CD4C-AAAB-430A-802B-A3529BE1AE54}" type="sibTrans" cxnId="{AD08A66F-4B93-4E85-A291-C1A0A64FEF5D}">
      <dgm:prSet/>
      <dgm:spPr/>
      <dgm:t>
        <a:bodyPr/>
        <a:lstStyle/>
        <a:p>
          <a:endParaRPr lang="en-GB">
            <a:latin typeface="Arial" panose="020B0604020202020204" pitchFamily="34" charset="0"/>
            <a:cs typeface="Arial" panose="020B0604020202020204" pitchFamily="34" charset="0"/>
          </a:endParaRPr>
        </a:p>
      </dgm:t>
    </dgm:pt>
    <dgm:pt modelId="{956116BC-AD33-492D-8158-77480629DA10}">
      <dgm:prSet custT="1"/>
      <dgm:spPr>
        <a:solidFill>
          <a:schemeClr val="accent6">
            <a:lumMod val="50000"/>
          </a:schemeClr>
        </a:solidFill>
      </dgm:spPr>
      <dgm:t>
        <a:bodyPr/>
        <a:lstStyle/>
        <a:p>
          <a:r>
            <a:rPr lang="en-GB" sz="1200" b="0" i="0">
              <a:latin typeface="Arial" panose="020B0604020202020204" pitchFamily="34" charset="0"/>
              <a:cs typeface="Arial" panose="020B0604020202020204" pitchFamily="34" charset="0"/>
            </a:rPr>
            <a:t>Direct allocations to Research Councils and Research England</a:t>
          </a:r>
        </a:p>
      </dgm:t>
    </dgm:pt>
    <dgm:pt modelId="{818ACCA4-4253-4A2A-A973-DF5D80E78812}" type="parTrans" cxnId="{C8B8A61F-E7D4-40D9-B54D-03E3296CDA96}">
      <dgm:prSet/>
      <dgm:spPr/>
      <dgm:t>
        <a:bodyPr/>
        <a:lstStyle/>
        <a:p>
          <a:endParaRPr lang="en-GB">
            <a:latin typeface="Arial" panose="020B0604020202020204" pitchFamily="34" charset="0"/>
            <a:cs typeface="Arial" panose="020B0604020202020204" pitchFamily="34" charset="0"/>
          </a:endParaRPr>
        </a:p>
      </dgm:t>
    </dgm:pt>
    <dgm:pt modelId="{FF04CE09-9F8D-4D03-9E23-E437D8071FB0}" type="sibTrans" cxnId="{C8B8A61F-E7D4-40D9-B54D-03E3296CDA96}">
      <dgm:prSet/>
      <dgm:spPr/>
      <dgm:t>
        <a:bodyPr/>
        <a:lstStyle/>
        <a:p>
          <a:endParaRPr lang="en-GB">
            <a:latin typeface="Arial" panose="020B0604020202020204" pitchFamily="34" charset="0"/>
            <a:cs typeface="Arial" panose="020B0604020202020204" pitchFamily="34" charset="0"/>
          </a:endParaRPr>
        </a:p>
      </dgm:t>
    </dgm:pt>
    <dgm:pt modelId="{DB76AA14-E5B2-4CFC-974F-EFFC567EE831}">
      <dgm:prSet custT="1"/>
      <dgm:spPr>
        <a:solidFill>
          <a:schemeClr val="accent1">
            <a:lumMod val="75000"/>
          </a:schemeClr>
        </a:solidFill>
      </dgm:spPr>
      <dgm:t>
        <a:bodyPr/>
        <a:lstStyle/>
        <a:p>
          <a:r>
            <a:rPr lang="en-GB" sz="1200" b="0" i="0" u="none">
              <a:latin typeface="Arial" panose="020B0604020202020204" pitchFamily="34" charset="0"/>
              <a:cs typeface="Arial" panose="020B0604020202020204" pitchFamily="34" charset="0"/>
            </a:rPr>
            <a:t>Project </a:t>
          </a:r>
          <a:br>
            <a:rPr lang="en-GB" sz="1200" b="0" i="0" u="none">
              <a:latin typeface="Arial" panose="020B0604020202020204" pitchFamily="34" charset="0"/>
              <a:cs typeface="Arial" panose="020B0604020202020204" pitchFamily="34" charset="0"/>
            </a:rPr>
          </a:br>
          <a:r>
            <a:rPr lang="en-GB" sz="1200" b="0" i="0" u="none">
              <a:latin typeface="Arial" panose="020B0604020202020204" pitchFamily="34" charset="0"/>
              <a:cs typeface="Arial" panose="020B0604020202020204" pitchFamily="34" charset="0"/>
            </a:rPr>
            <a:t>Funding</a:t>
          </a:r>
        </a:p>
      </dgm:t>
    </dgm:pt>
    <dgm:pt modelId="{A05CC44B-7942-4174-8BDE-291C76BA7AF9}" type="parTrans" cxnId="{02731F65-DE23-4968-BF7E-86F5A9FABE70}">
      <dgm:prSet/>
      <dgm:spPr/>
      <dgm:t>
        <a:bodyPr/>
        <a:lstStyle/>
        <a:p>
          <a:endParaRPr lang="en-GB">
            <a:latin typeface="Arial" panose="020B0604020202020204" pitchFamily="34" charset="0"/>
            <a:cs typeface="Arial" panose="020B0604020202020204" pitchFamily="34" charset="0"/>
          </a:endParaRPr>
        </a:p>
      </dgm:t>
    </dgm:pt>
    <dgm:pt modelId="{56DF4224-DB39-46E4-BBF3-CA8BAA15D319}" type="sibTrans" cxnId="{02731F65-DE23-4968-BF7E-86F5A9FABE70}">
      <dgm:prSet/>
      <dgm:spPr/>
      <dgm:t>
        <a:bodyPr/>
        <a:lstStyle/>
        <a:p>
          <a:endParaRPr lang="en-GB">
            <a:latin typeface="Arial" panose="020B0604020202020204" pitchFamily="34" charset="0"/>
            <a:cs typeface="Arial" panose="020B0604020202020204" pitchFamily="34" charset="0"/>
          </a:endParaRPr>
        </a:p>
      </dgm:t>
    </dgm:pt>
    <dgm:pt modelId="{FF26A060-8243-4367-9A0C-77BA1B16E2DF}">
      <dgm:prSet custT="1"/>
      <dgm:spPr>
        <a:solidFill>
          <a:schemeClr val="accent1">
            <a:lumMod val="40000"/>
            <a:lumOff val="60000"/>
          </a:schemeClr>
        </a:solidFill>
        <a:ln w="76200">
          <a:noFill/>
        </a:ln>
      </dgm:spPr>
      <dgm:t>
        <a:bodyPr/>
        <a:lstStyle/>
        <a:p>
          <a:r>
            <a:rPr lang="en-GB" sz="1200">
              <a:solidFill>
                <a:schemeClr val="accent1">
                  <a:lumMod val="50000"/>
                </a:schemeClr>
              </a:solidFill>
              <a:latin typeface="Arial" panose="020B0604020202020204" pitchFamily="34" charset="0"/>
              <a:cs typeface="Arial" panose="020B0604020202020204" pitchFamily="34" charset="0"/>
            </a:rPr>
            <a:t>Infrastructure Fund </a:t>
          </a:r>
        </a:p>
        <a:p>
          <a:r>
            <a:rPr lang="en-GB" sz="1200">
              <a:solidFill>
                <a:schemeClr val="accent1">
                  <a:lumMod val="50000"/>
                </a:schemeClr>
              </a:solidFill>
              <a:latin typeface="Arial" panose="020B0604020202020204" pitchFamily="34" charset="0"/>
              <a:cs typeface="Arial" panose="020B0604020202020204" pitchFamily="34" charset="0"/>
            </a:rPr>
            <a:t>£481M</a:t>
          </a:r>
        </a:p>
      </dgm:t>
    </dgm:pt>
    <dgm:pt modelId="{EDD360EC-D1ED-485C-A858-ECAC8656CD3D}" type="parTrans" cxnId="{BA271CCC-7B24-4103-8D47-3431359D8489}">
      <dgm:prSet/>
      <dgm:spPr/>
      <dgm:t>
        <a:bodyPr/>
        <a:lstStyle/>
        <a:p>
          <a:endParaRPr lang="en-GB">
            <a:latin typeface="Arial" panose="020B0604020202020204" pitchFamily="34" charset="0"/>
            <a:cs typeface="Arial" panose="020B0604020202020204" pitchFamily="34" charset="0"/>
          </a:endParaRPr>
        </a:p>
      </dgm:t>
    </dgm:pt>
    <dgm:pt modelId="{2034905F-5790-44CD-B20D-65C161400D61}" type="sibTrans" cxnId="{BA271CCC-7B24-4103-8D47-3431359D8489}">
      <dgm:prSet/>
      <dgm:spPr/>
      <dgm:t>
        <a:bodyPr/>
        <a:lstStyle/>
        <a:p>
          <a:endParaRPr lang="en-GB">
            <a:latin typeface="Arial" panose="020B0604020202020204" pitchFamily="34" charset="0"/>
            <a:cs typeface="Arial" panose="020B0604020202020204" pitchFamily="34" charset="0"/>
          </a:endParaRPr>
        </a:p>
      </dgm:t>
    </dgm:pt>
    <dgm:pt modelId="{91553C7E-A73C-48AD-AB5C-ABFF0A6F9924}">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Proposals from councils</a:t>
          </a:r>
        </a:p>
      </dgm:t>
    </dgm:pt>
    <dgm:pt modelId="{A4A926A3-67B2-46E6-9689-4320D07AF91D}" type="parTrans" cxnId="{9AC672D7-218C-4174-83C6-33286D5B3411}">
      <dgm:prSet/>
      <dgm:spPr/>
      <dgm:t>
        <a:bodyPr/>
        <a:lstStyle/>
        <a:p>
          <a:endParaRPr lang="en-GB">
            <a:latin typeface="Arial" panose="020B0604020202020204" pitchFamily="34" charset="0"/>
            <a:cs typeface="Arial" panose="020B0604020202020204" pitchFamily="34" charset="0"/>
          </a:endParaRPr>
        </a:p>
      </dgm:t>
    </dgm:pt>
    <dgm:pt modelId="{6FBA2956-8A1B-4E47-8FBB-5ECC757DAE45}" type="sibTrans" cxnId="{9AC672D7-218C-4174-83C6-33286D5B3411}">
      <dgm:prSet/>
      <dgm:spPr/>
      <dgm:t>
        <a:bodyPr/>
        <a:lstStyle/>
        <a:p>
          <a:endParaRPr lang="en-GB">
            <a:latin typeface="Arial" panose="020B0604020202020204" pitchFamily="34" charset="0"/>
            <a:cs typeface="Arial" panose="020B0604020202020204" pitchFamily="34" charset="0"/>
          </a:endParaRPr>
        </a:p>
      </dgm:t>
    </dgm:pt>
    <dgm:pt modelId="{C44BC157-68A1-457B-A86B-1AEF95F88A11}">
      <dgm:prSet custT="1"/>
      <dgm:spPr>
        <a:solidFill>
          <a:schemeClr val="accent1">
            <a:lumMod val="40000"/>
            <a:lumOff val="60000"/>
          </a:schemeClr>
        </a:solidFill>
        <a:ln w="76200">
          <a:noFill/>
        </a:ln>
      </dgm:spPr>
      <dgm:t>
        <a:bodyPr/>
        <a:lstStyle/>
        <a:p>
          <a:r>
            <a:rPr lang="en-GB" sz="1200">
              <a:solidFill>
                <a:schemeClr val="accent1">
                  <a:lumMod val="50000"/>
                </a:schemeClr>
              </a:solidFill>
              <a:latin typeface="Arial" panose="020B0604020202020204" pitchFamily="34" charset="0"/>
              <a:cs typeface="Arial" panose="020B0604020202020204" pitchFamily="34" charset="0"/>
            </a:rPr>
            <a:t>Digital Research Infrastructure</a:t>
          </a:r>
        </a:p>
        <a:p>
          <a:r>
            <a:rPr lang="en-GB" sz="1200" b="0">
              <a:solidFill>
                <a:schemeClr val="accent1">
                  <a:lumMod val="50000"/>
                </a:schemeClr>
              </a:solidFill>
              <a:latin typeface="Arial" panose="020B0604020202020204" pitchFamily="34" charset="0"/>
              <a:cs typeface="Arial" panose="020B0604020202020204" pitchFamily="34" charset="0"/>
            </a:rPr>
            <a:t>£129M</a:t>
          </a:r>
        </a:p>
      </dgm:t>
    </dgm:pt>
    <dgm:pt modelId="{FD349561-495A-40E6-AF2B-67C1886916A6}" type="parTrans" cxnId="{1B0E4C0D-F795-45BD-919E-CF863B41DD63}">
      <dgm:prSet/>
      <dgm:spPr/>
      <dgm:t>
        <a:bodyPr/>
        <a:lstStyle/>
        <a:p>
          <a:endParaRPr lang="en-GB">
            <a:latin typeface="Arial" panose="020B0604020202020204" pitchFamily="34" charset="0"/>
            <a:cs typeface="Arial" panose="020B0604020202020204" pitchFamily="34" charset="0"/>
          </a:endParaRPr>
        </a:p>
      </dgm:t>
    </dgm:pt>
    <dgm:pt modelId="{02447B08-38BB-4846-88B1-0090121C0345}" type="sibTrans" cxnId="{1B0E4C0D-F795-45BD-919E-CF863B41DD63}">
      <dgm:prSet/>
      <dgm:spPr/>
      <dgm:t>
        <a:bodyPr/>
        <a:lstStyle/>
        <a:p>
          <a:endParaRPr lang="en-GB">
            <a:latin typeface="Arial" panose="020B0604020202020204" pitchFamily="34" charset="0"/>
            <a:cs typeface="Arial" panose="020B0604020202020204" pitchFamily="34" charset="0"/>
          </a:endParaRPr>
        </a:p>
      </dgm:t>
    </dgm:pt>
    <dgm:pt modelId="{6949D86A-E66F-4398-BE1D-E1ABD33E66E3}">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Decarbonising UKRI-owned operations</a:t>
          </a:r>
        </a:p>
      </dgm:t>
    </dgm:pt>
    <dgm:pt modelId="{DF8A79B0-C0DD-46DC-8C6E-0D3E08902466}" type="parTrans" cxnId="{9F59D5A0-6AF4-434D-BF2E-4C13E08A6697}">
      <dgm:prSet/>
      <dgm:spPr/>
      <dgm:t>
        <a:bodyPr/>
        <a:lstStyle/>
        <a:p>
          <a:endParaRPr lang="en-GB">
            <a:latin typeface="Arial" panose="020B0604020202020204" pitchFamily="34" charset="0"/>
            <a:cs typeface="Arial" panose="020B0604020202020204" pitchFamily="34" charset="0"/>
          </a:endParaRPr>
        </a:p>
      </dgm:t>
    </dgm:pt>
    <dgm:pt modelId="{C4999E49-B3BB-40FD-B5AB-A6ECE80CBFFB}" type="sibTrans" cxnId="{9F59D5A0-6AF4-434D-BF2E-4C13E08A6697}">
      <dgm:prSet/>
      <dgm:spPr/>
      <dgm:t>
        <a:bodyPr/>
        <a:lstStyle/>
        <a:p>
          <a:endParaRPr lang="en-GB">
            <a:latin typeface="Arial" panose="020B0604020202020204" pitchFamily="34" charset="0"/>
            <a:cs typeface="Arial" panose="020B0604020202020204" pitchFamily="34" charset="0"/>
          </a:endParaRPr>
        </a:p>
      </dgm:t>
    </dgm:pt>
    <dgm:pt modelId="{2C0D68D1-C532-4FFB-AE6C-142524C1F1E2}">
      <dgm:prSet custT="1"/>
      <dgm:spPr>
        <a:solidFill>
          <a:schemeClr val="accent1">
            <a:lumMod val="40000"/>
            <a:lumOff val="60000"/>
          </a:schemeClr>
        </a:solidFill>
      </dgm:spPr>
      <dgm:t>
        <a:bodyPr/>
        <a:lstStyle/>
        <a:p>
          <a:r>
            <a:rPr lang="en-GB" sz="1200" b="0">
              <a:solidFill>
                <a:schemeClr val="accent1">
                  <a:lumMod val="50000"/>
                </a:schemeClr>
              </a:solidFill>
              <a:latin typeface="Arial" panose="020B0604020202020204" pitchFamily="34" charset="0"/>
              <a:cs typeface="Arial" panose="020B0604020202020204" pitchFamily="34" charset="0"/>
            </a:rPr>
            <a:t>UKRPIF £129M</a:t>
          </a:r>
        </a:p>
      </dgm:t>
    </dgm:pt>
    <dgm:pt modelId="{C83BED25-BB78-4354-81A4-CEAC6D2BFB84}" type="parTrans" cxnId="{52058B0C-CC00-4923-A7C5-F9D531CCD996}">
      <dgm:prSet/>
      <dgm:spPr/>
      <dgm:t>
        <a:bodyPr/>
        <a:lstStyle/>
        <a:p>
          <a:endParaRPr lang="en-GB">
            <a:latin typeface="Arial" panose="020B0604020202020204" pitchFamily="34" charset="0"/>
            <a:cs typeface="Arial" panose="020B0604020202020204" pitchFamily="34" charset="0"/>
          </a:endParaRPr>
        </a:p>
      </dgm:t>
    </dgm:pt>
    <dgm:pt modelId="{DAD4556C-8F2F-4281-BC0E-EC84EAEEDFB2}" type="sibTrans" cxnId="{52058B0C-CC00-4923-A7C5-F9D531CCD996}">
      <dgm:prSet/>
      <dgm:spPr/>
      <dgm:t>
        <a:bodyPr/>
        <a:lstStyle/>
        <a:p>
          <a:endParaRPr lang="en-GB">
            <a:latin typeface="Arial" panose="020B0604020202020204" pitchFamily="34" charset="0"/>
            <a:cs typeface="Arial" panose="020B0604020202020204" pitchFamily="34" charset="0"/>
          </a:endParaRPr>
        </a:p>
      </dgm:t>
    </dgm:pt>
    <dgm:pt modelId="{F28BA191-B398-4E7D-A4FB-97079DB04B70}">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Proposals from universities</a:t>
          </a:r>
        </a:p>
      </dgm:t>
    </dgm:pt>
    <dgm:pt modelId="{7FC1CE24-4EC6-4960-9F8B-E6EC820FEAC8}" type="parTrans" cxnId="{F898D458-460C-479D-A6D7-10F69DF20AD0}">
      <dgm:prSet/>
      <dgm:spPr/>
      <dgm:t>
        <a:bodyPr/>
        <a:lstStyle/>
        <a:p>
          <a:endParaRPr lang="en-GB">
            <a:latin typeface="Arial" panose="020B0604020202020204" pitchFamily="34" charset="0"/>
            <a:cs typeface="Arial" panose="020B0604020202020204" pitchFamily="34" charset="0"/>
          </a:endParaRPr>
        </a:p>
      </dgm:t>
    </dgm:pt>
    <dgm:pt modelId="{B6511C9E-5214-4232-A0D9-7FBE8C1AB2BC}" type="sibTrans" cxnId="{F898D458-460C-479D-A6D7-10F69DF20AD0}">
      <dgm:prSet/>
      <dgm:spPr/>
      <dgm:t>
        <a:bodyPr/>
        <a:lstStyle/>
        <a:p>
          <a:endParaRPr lang="en-GB">
            <a:latin typeface="Arial" panose="020B0604020202020204" pitchFamily="34" charset="0"/>
            <a:cs typeface="Arial" panose="020B0604020202020204" pitchFamily="34" charset="0"/>
          </a:endParaRPr>
        </a:p>
      </dgm:t>
    </dgm:pt>
    <dgm:pt modelId="{1B054DD5-DB8E-4E61-8A14-358893CEFA39}">
      <dgm:prSet custT="1"/>
      <dgm:spPr>
        <a:solidFill>
          <a:schemeClr val="accent6">
            <a:lumMod val="40000"/>
            <a:lumOff val="60000"/>
          </a:schemeClr>
        </a:solidFill>
      </dgm:spPr>
      <dgm:t>
        <a:bodyPr/>
        <a:lstStyle/>
        <a:p>
          <a:r>
            <a:rPr lang="en-GB" sz="1200">
              <a:solidFill>
                <a:schemeClr val="accent6">
                  <a:lumMod val="50000"/>
                </a:schemeClr>
              </a:solidFill>
              <a:latin typeface="Arial" panose="020B0604020202020204" pitchFamily="34" charset="0"/>
              <a:cs typeface="Arial" panose="020B0604020202020204" pitchFamily="34" charset="0"/>
            </a:rPr>
            <a:t>International Subscriptions</a:t>
          </a:r>
          <a:r>
            <a:rPr lang="en-GB" sz="1200" baseline="30000">
              <a:solidFill>
                <a:schemeClr val="accent6">
                  <a:lumMod val="50000"/>
                </a:schemeClr>
              </a:solidFill>
              <a:latin typeface="Arial" panose="020B0604020202020204" pitchFamily="34" charset="0"/>
              <a:cs typeface="Arial" panose="020B0604020202020204" pitchFamily="34" charset="0"/>
            </a:rPr>
            <a:t>1</a:t>
          </a:r>
          <a:endParaRPr lang="en-GB" sz="1200">
            <a:solidFill>
              <a:schemeClr val="accent6">
                <a:lumMod val="50000"/>
              </a:schemeClr>
            </a:solidFill>
            <a:latin typeface="Arial" panose="020B0604020202020204" pitchFamily="34" charset="0"/>
            <a:cs typeface="Arial" panose="020B0604020202020204" pitchFamily="34" charset="0"/>
          </a:endParaRPr>
        </a:p>
        <a:p>
          <a:r>
            <a:rPr lang="en-GB" sz="1200">
              <a:solidFill>
                <a:schemeClr val="accent6">
                  <a:lumMod val="50000"/>
                </a:schemeClr>
              </a:solidFill>
              <a:latin typeface="Arial" panose="020B0604020202020204" pitchFamily="34" charset="0"/>
              <a:cs typeface="Arial" panose="020B0604020202020204" pitchFamily="34" charset="0"/>
            </a:rPr>
            <a:t>£145M</a:t>
          </a:r>
        </a:p>
      </dgm:t>
    </dgm:pt>
    <dgm:pt modelId="{FA543858-E6BF-4124-8F31-C66861ED1941}" type="parTrans" cxnId="{FE2B21DF-633B-4335-A7C4-68C86A040035}">
      <dgm:prSet/>
      <dgm:spPr/>
      <dgm:t>
        <a:bodyPr/>
        <a:lstStyle/>
        <a:p>
          <a:endParaRPr lang="en-GB">
            <a:latin typeface="Arial" panose="020B0604020202020204" pitchFamily="34" charset="0"/>
            <a:cs typeface="Arial" panose="020B0604020202020204" pitchFamily="34" charset="0"/>
          </a:endParaRPr>
        </a:p>
      </dgm:t>
    </dgm:pt>
    <dgm:pt modelId="{E5C164DA-6A89-438A-9EC8-86F9AE943CFA}" type="sibTrans" cxnId="{FE2B21DF-633B-4335-A7C4-68C86A040035}">
      <dgm:prSet/>
      <dgm:spPr/>
      <dgm:t>
        <a:bodyPr/>
        <a:lstStyle/>
        <a:p>
          <a:endParaRPr lang="en-GB">
            <a:latin typeface="Arial" panose="020B0604020202020204" pitchFamily="34" charset="0"/>
            <a:cs typeface="Arial" panose="020B0604020202020204" pitchFamily="34" charset="0"/>
          </a:endParaRPr>
        </a:p>
      </dgm:t>
    </dgm:pt>
    <dgm:pt modelId="{B18AF205-772B-4FB3-A5B7-84EC84666A27}">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International science projects</a:t>
          </a:r>
        </a:p>
      </dgm:t>
    </dgm:pt>
    <dgm:pt modelId="{CEA0EBAC-3EE6-4205-AC60-428A6EF03280}" type="parTrans" cxnId="{55A0C29F-6284-435E-B569-EBED56219560}">
      <dgm:prSet/>
      <dgm:spPr/>
      <dgm:t>
        <a:bodyPr/>
        <a:lstStyle/>
        <a:p>
          <a:endParaRPr lang="en-GB">
            <a:latin typeface="Arial" panose="020B0604020202020204" pitchFamily="34" charset="0"/>
            <a:cs typeface="Arial" panose="020B0604020202020204" pitchFamily="34" charset="0"/>
          </a:endParaRPr>
        </a:p>
      </dgm:t>
    </dgm:pt>
    <dgm:pt modelId="{AA0F2613-2063-4A24-87E5-C256C079AA49}" type="sibTrans" cxnId="{55A0C29F-6284-435E-B569-EBED56219560}">
      <dgm:prSet/>
      <dgm:spPr/>
      <dgm:t>
        <a:bodyPr/>
        <a:lstStyle/>
        <a:p>
          <a:endParaRPr lang="en-GB">
            <a:latin typeface="Arial" panose="020B0604020202020204" pitchFamily="34" charset="0"/>
            <a:cs typeface="Arial" panose="020B0604020202020204" pitchFamily="34" charset="0"/>
          </a:endParaRPr>
        </a:p>
      </dgm:t>
    </dgm:pt>
    <dgm:pt modelId="{2681ECC1-F152-0641-B176-5AF210158920}">
      <dgm:prSet custT="1"/>
      <dgm:spPr>
        <a:solidFill>
          <a:schemeClr val="accent1">
            <a:lumMod val="40000"/>
            <a:lumOff val="60000"/>
          </a:schemeClr>
        </a:solidFill>
      </dgm:spPr>
      <dgm:t>
        <a:bodyPr/>
        <a:lstStyle/>
        <a:p>
          <a:r>
            <a:rPr lang="en-GB" sz="1200" b="0">
              <a:solidFill>
                <a:schemeClr val="accent1">
                  <a:lumMod val="50000"/>
                </a:schemeClr>
              </a:solidFill>
              <a:latin typeface="Arial" panose="020B0604020202020204" pitchFamily="34" charset="0"/>
              <a:cs typeface="Arial" panose="020B0604020202020204" pitchFamily="34" charset="0"/>
            </a:rPr>
            <a:t>Carbon Zero Fund £48M</a:t>
          </a:r>
        </a:p>
      </dgm:t>
    </dgm:pt>
    <dgm:pt modelId="{5525408B-D037-B54F-A5A6-9FBE09B88E3E}" type="parTrans" cxnId="{C4B46D29-354D-8F43-818F-46F13765915F}">
      <dgm:prSet/>
      <dgm:spPr/>
      <dgm:t>
        <a:bodyPr/>
        <a:lstStyle/>
        <a:p>
          <a:endParaRPr lang="en-GB">
            <a:latin typeface="Arial" panose="020B0604020202020204" pitchFamily="34" charset="0"/>
            <a:cs typeface="Arial" panose="020B0604020202020204" pitchFamily="34" charset="0"/>
          </a:endParaRPr>
        </a:p>
      </dgm:t>
    </dgm:pt>
    <dgm:pt modelId="{11F5F2A4-F3DB-C041-87D6-0F51E29EE8E7}" type="sibTrans" cxnId="{C4B46D29-354D-8F43-818F-46F13765915F}">
      <dgm:prSet/>
      <dgm:spPr/>
      <dgm:t>
        <a:bodyPr/>
        <a:lstStyle/>
        <a:p>
          <a:endParaRPr lang="en-GB">
            <a:latin typeface="Arial" panose="020B0604020202020204" pitchFamily="34" charset="0"/>
            <a:cs typeface="Arial" panose="020B0604020202020204" pitchFamily="34" charset="0"/>
          </a:endParaRPr>
        </a:p>
      </dgm:t>
    </dgm:pt>
    <dgm:pt modelId="{F1F930CA-8118-AF43-869C-A9BDC5BECD98}">
      <dgm:prSet custT="1"/>
      <dgm:spPr>
        <a:solidFill>
          <a:schemeClr val="bg1"/>
        </a:solidFill>
      </dgm:spPr>
      <dgm:t>
        <a:bodyPr/>
        <a:lstStyle/>
        <a:p>
          <a:r>
            <a:rPr lang="en-GB" sz="1200" b="0">
              <a:solidFill>
                <a:schemeClr val="accent1">
                  <a:lumMod val="50000"/>
                </a:schemeClr>
              </a:solidFill>
              <a:latin typeface="Arial" panose="020B0604020202020204" pitchFamily="34" charset="0"/>
              <a:cs typeface="Arial" panose="020B0604020202020204" pitchFamily="34" charset="0"/>
            </a:rPr>
            <a:t>Proposals from councils</a:t>
          </a:r>
        </a:p>
      </dgm:t>
    </dgm:pt>
    <dgm:pt modelId="{EA0ED266-5C43-D644-95AB-380291109CCC}" type="parTrans" cxnId="{D6C69936-18BD-A840-A461-E07976A6A504}">
      <dgm:prSet/>
      <dgm:spPr/>
      <dgm:t>
        <a:bodyPr/>
        <a:lstStyle/>
        <a:p>
          <a:endParaRPr lang="en-GB">
            <a:latin typeface="Arial" panose="020B0604020202020204" pitchFamily="34" charset="0"/>
            <a:cs typeface="Arial" panose="020B0604020202020204" pitchFamily="34" charset="0"/>
          </a:endParaRPr>
        </a:p>
      </dgm:t>
    </dgm:pt>
    <dgm:pt modelId="{272CF4BA-91B5-5140-9A6D-61B58E3386E4}" type="sibTrans" cxnId="{D6C69936-18BD-A840-A461-E07976A6A504}">
      <dgm:prSet/>
      <dgm:spPr/>
      <dgm:t>
        <a:bodyPr/>
        <a:lstStyle/>
        <a:p>
          <a:endParaRPr lang="en-GB">
            <a:latin typeface="Arial" panose="020B0604020202020204" pitchFamily="34" charset="0"/>
            <a:cs typeface="Arial" panose="020B0604020202020204" pitchFamily="34" charset="0"/>
          </a:endParaRPr>
        </a:p>
      </dgm:t>
    </dgm:pt>
    <dgm:pt modelId="{6F96D57B-443C-4194-A5AF-0F96456D730F}">
      <dgm:prSet custT="1"/>
      <dgm:spPr>
        <a:solidFill>
          <a:schemeClr val="accent6">
            <a:lumMod val="40000"/>
            <a:lumOff val="60000"/>
          </a:schemeClr>
        </a:solidFill>
      </dgm:spPr>
      <dgm:t>
        <a:bodyPr/>
        <a:lstStyle/>
        <a:p>
          <a:r>
            <a:rPr lang="en-GB" sz="1200">
              <a:solidFill>
                <a:schemeClr val="accent6">
                  <a:lumMod val="50000"/>
                </a:schemeClr>
              </a:solidFill>
              <a:latin typeface="Arial" panose="020B0604020202020204" pitchFamily="34" charset="0"/>
              <a:cs typeface="Arial" panose="020B0604020202020204" pitchFamily="34" charset="0"/>
            </a:rPr>
            <a:t>WCL – Formula Capital </a:t>
          </a:r>
        </a:p>
        <a:p>
          <a:r>
            <a:rPr lang="en-GB" sz="1200">
              <a:solidFill>
                <a:schemeClr val="accent6">
                  <a:lumMod val="50000"/>
                </a:schemeClr>
              </a:solidFill>
              <a:latin typeface="Arial" panose="020B0604020202020204" pitchFamily="34" charset="0"/>
              <a:cs typeface="Arial" panose="020B0604020202020204" pitchFamily="34" charset="0"/>
            </a:rPr>
            <a:t>£679M</a:t>
          </a:r>
          <a:endParaRPr lang="en-GB" sz="1200">
            <a:solidFill>
              <a:schemeClr val="accent6">
                <a:lumMod val="50000"/>
              </a:schemeClr>
            </a:solidFill>
          </a:endParaRPr>
        </a:p>
      </dgm:t>
    </dgm:pt>
    <dgm:pt modelId="{243D1B98-964A-40A6-9B92-70ADF21BE95D}" type="parTrans" cxnId="{0EFCB46C-0283-4DE0-AC3B-42FA1E4BDE31}">
      <dgm:prSet/>
      <dgm:spPr/>
      <dgm:t>
        <a:bodyPr/>
        <a:lstStyle/>
        <a:p>
          <a:endParaRPr lang="en-GB"/>
        </a:p>
      </dgm:t>
    </dgm:pt>
    <dgm:pt modelId="{4488A0CD-58C8-47FF-954F-2359A0DCCEE2}" type="sibTrans" cxnId="{0EFCB46C-0283-4DE0-AC3B-42FA1E4BDE31}">
      <dgm:prSet/>
      <dgm:spPr/>
      <dgm:t>
        <a:bodyPr/>
        <a:lstStyle/>
        <a:p>
          <a:endParaRPr lang="en-GB"/>
        </a:p>
      </dgm:t>
    </dgm:pt>
    <dgm:pt modelId="{F24EB55B-81A4-4423-A532-076CD7ED8D30}">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Allocated to universities </a:t>
          </a:r>
          <a:br>
            <a:rPr lang="en-GB" sz="1200">
              <a:solidFill>
                <a:schemeClr val="accent1">
                  <a:lumMod val="50000"/>
                </a:schemeClr>
              </a:solidFill>
              <a:latin typeface="Arial" panose="020B0604020202020204" pitchFamily="34" charset="0"/>
              <a:cs typeface="Arial" panose="020B0604020202020204" pitchFamily="34" charset="0"/>
            </a:rPr>
          </a:br>
          <a:r>
            <a:rPr lang="en-GB" sz="1200">
              <a:solidFill>
                <a:schemeClr val="accent1">
                  <a:lumMod val="50000"/>
                </a:schemeClr>
              </a:solidFill>
              <a:latin typeface="Arial" panose="020B0604020202020204" pitchFamily="34" charset="0"/>
              <a:cs typeface="Arial" panose="020B0604020202020204" pitchFamily="34" charset="0"/>
            </a:rPr>
            <a:t>(and others)</a:t>
          </a:r>
          <a:endParaRPr lang="en-GB" sz="1200">
            <a:solidFill>
              <a:schemeClr val="accent1">
                <a:lumMod val="50000"/>
              </a:schemeClr>
            </a:solidFill>
          </a:endParaRPr>
        </a:p>
      </dgm:t>
    </dgm:pt>
    <dgm:pt modelId="{BECF7965-50B3-40FF-979A-00C381C74464}" type="parTrans" cxnId="{83F28E7C-1CE9-4D4D-8F48-417EBFAD3A61}">
      <dgm:prSet/>
      <dgm:spPr/>
      <dgm:t>
        <a:bodyPr/>
        <a:lstStyle/>
        <a:p>
          <a:endParaRPr lang="en-GB"/>
        </a:p>
      </dgm:t>
    </dgm:pt>
    <dgm:pt modelId="{9CF67999-7C8F-474B-9960-80B86C0C96DB}" type="sibTrans" cxnId="{83F28E7C-1CE9-4D4D-8F48-417EBFAD3A61}">
      <dgm:prSet/>
      <dgm:spPr/>
      <dgm:t>
        <a:bodyPr/>
        <a:lstStyle/>
        <a:p>
          <a:endParaRPr lang="en-GB"/>
        </a:p>
      </dgm:t>
    </dgm:pt>
    <dgm:pt modelId="{7B348C97-DB76-47D9-9C14-1339A22F739F}">
      <dgm:prSet custT="1"/>
      <dgm:spPr>
        <a:solidFill>
          <a:schemeClr val="accent1">
            <a:lumMod val="40000"/>
            <a:lumOff val="60000"/>
          </a:schemeClr>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Major Projects</a:t>
          </a:r>
        </a:p>
        <a:p>
          <a:r>
            <a:rPr lang="en-GB" sz="1200">
              <a:solidFill>
                <a:schemeClr val="accent1">
                  <a:lumMod val="50000"/>
                </a:schemeClr>
              </a:solidFill>
              <a:latin typeface="Arial" panose="020B0604020202020204" pitchFamily="34" charset="0"/>
              <a:cs typeface="Arial" panose="020B0604020202020204" pitchFamily="34" charset="0"/>
            </a:rPr>
            <a:t>£175M</a:t>
          </a:r>
        </a:p>
      </dgm:t>
    </dgm:pt>
    <dgm:pt modelId="{D65B7B75-7386-4289-B0AE-9476A56CC675}" type="parTrans" cxnId="{75520387-6463-44BB-9EFB-97F699CEB4A0}">
      <dgm:prSet/>
      <dgm:spPr/>
      <dgm:t>
        <a:bodyPr/>
        <a:lstStyle/>
        <a:p>
          <a:endParaRPr lang="en-GB"/>
        </a:p>
      </dgm:t>
    </dgm:pt>
    <dgm:pt modelId="{C6A215FE-F6C3-4486-81BB-93D432CB0D7A}" type="sibTrans" cxnId="{75520387-6463-44BB-9EFB-97F699CEB4A0}">
      <dgm:prSet/>
      <dgm:spPr/>
      <dgm:t>
        <a:bodyPr/>
        <a:lstStyle/>
        <a:p>
          <a:endParaRPr lang="en-GB"/>
        </a:p>
      </dgm:t>
    </dgm:pt>
    <dgm:pt modelId="{0F79D3A9-EC2A-4F1F-AF55-1C24C1FDB416}">
      <dgm:prSet custT="1"/>
      <dgm:spPr>
        <a:solidFill>
          <a:schemeClr val="bg1"/>
        </a:solidFill>
      </dgm:spPr>
      <dgm:t>
        <a:bodyPr/>
        <a:lstStyle/>
        <a:p>
          <a:r>
            <a:rPr lang="en-GB" sz="1200">
              <a:solidFill>
                <a:schemeClr val="accent1">
                  <a:lumMod val="50000"/>
                </a:schemeClr>
              </a:solidFill>
              <a:latin typeface="Arial" panose="020B0604020202020204" pitchFamily="34" charset="0"/>
              <a:cs typeface="Arial" panose="020B0604020202020204" pitchFamily="34" charset="0"/>
            </a:rPr>
            <a:t>Ad Hoc approved by ExCo/ DSIT/ HMG</a:t>
          </a:r>
        </a:p>
      </dgm:t>
    </dgm:pt>
    <dgm:pt modelId="{84CF41D8-CD17-4E3A-8E10-2DB2129F9244}" type="parTrans" cxnId="{89B3B8C6-2B20-41B2-A0C3-DC6B8AD5FF60}">
      <dgm:prSet/>
      <dgm:spPr/>
      <dgm:t>
        <a:bodyPr/>
        <a:lstStyle/>
        <a:p>
          <a:endParaRPr lang="en-GB"/>
        </a:p>
      </dgm:t>
    </dgm:pt>
    <dgm:pt modelId="{58A25705-8D15-49CE-B5AA-8C60AE1EC8A4}" type="sibTrans" cxnId="{89B3B8C6-2B20-41B2-A0C3-DC6B8AD5FF60}">
      <dgm:prSet/>
      <dgm:spPr/>
      <dgm:t>
        <a:bodyPr/>
        <a:lstStyle/>
        <a:p>
          <a:endParaRPr lang="en-GB"/>
        </a:p>
      </dgm:t>
    </dgm:pt>
    <dgm:pt modelId="{B429C682-7C7F-4578-B438-94ABC4FFC712}" type="pres">
      <dgm:prSet presAssocID="{226B3E15-D058-4A38-BBF4-ECF5AFDE0DB3}" presName="hierChild1" presStyleCnt="0">
        <dgm:presLayoutVars>
          <dgm:orgChart val="1"/>
          <dgm:chPref val="1"/>
          <dgm:dir/>
          <dgm:animOne val="branch"/>
          <dgm:animLvl val="lvl"/>
          <dgm:resizeHandles/>
        </dgm:presLayoutVars>
      </dgm:prSet>
      <dgm:spPr/>
    </dgm:pt>
    <dgm:pt modelId="{EA1A4C1D-F3DE-4D62-8170-DC7E0FB58E66}" type="pres">
      <dgm:prSet presAssocID="{E3558EDB-A409-4234-B712-47181D6C04A8}" presName="hierRoot1" presStyleCnt="0">
        <dgm:presLayoutVars>
          <dgm:hierBranch val="init"/>
        </dgm:presLayoutVars>
      </dgm:prSet>
      <dgm:spPr/>
    </dgm:pt>
    <dgm:pt modelId="{3A4FD830-F97A-4071-A734-89B29F94CAE6}" type="pres">
      <dgm:prSet presAssocID="{E3558EDB-A409-4234-B712-47181D6C04A8}" presName="rootComposite1" presStyleCnt="0"/>
      <dgm:spPr/>
    </dgm:pt>
    <dgm:pt modelId="{16E74C02-AF7A-4EF0-B75C-CA2BC16E5E43}" type="pres">
      <dgm:prSet presAssocID="{E3558EDB-A409-4234-B712-47181D6C04A8}" presName="rootText1" presStyleLbl="node0" presStyleIdx="0" presStyleCnt="1" custScaleX="186933" custScaleY="133646" custLinFactNeighborX="-93711" custLinFactNeighborY="2821">
        <dgm:presLayoutVars>
          <dgm:chPref val="3"/>
        </dgm:presLayoutVars>
      </dgm:prSet>
      <dgm:spPr/>
    </dgm:pt>
    <dgm:pt modelId="{C3C88954-460C-4D23-8188-700F35E0686B}" type="pres">
      <dgm:prSet presAssocID="{E3558EDB-A409-4234-B712-47181D6C04A8}" presName="rootConnector1" presStyleLbl="node1" presStyleIdx="0" presStyleCnt="0"/>
      <dgm:spPr/>
    </dgm:pt>
    <dgm:pt modelId="{49471786-D6E8-45DA-9BA5-10216F1D73F9}" type="pres">
      <dgm:prSet presAssocID="{E3558EDB-A409-4234-B712-47181D6C04A8}" presName="hierChild2" presStyleCnt="0"/>
      <dgm:spPr/>
    </dgm:pt>
    <dgm:pt modelId="{ECF7AC4B-E38D-4943-B197-2D7758048DD6}" type="pres">
      <dgm:prSet presAssocID="{A05CC44B-7942-4174-8BDE-291C76BA7AF9}" presName="Name37" presStyleLbl="parChTrans1D2" presStyleIdx="0" presStyleCnt="2"/>
      <dgm:spPr/>
    </dgm:pt>
    <dgm:pt modelId="{F603805C-AB93-4FC2-BD03-DA7ECE207DC9}" type="pres">
      <dgm:prSet presAssocID="{DB76AA14-E5B2-4CFC-974F-EFFC567EE831}" presName="hierRoot2" presStyleCnt="0">
        <dgm:presLayoutVars>
          <dgm:hierBranch val="init"/>
        </dgm:presLayoutVars>
      </dgm:prSet>
      <dgm:spPr/>
    </dgm:pt>
    <dgm:pt modelId="{89CBA1BD-4151-4A08-84F4-D482F9A6C269}" type="pres">
      <dgm:prSet presAssocID="{DB76AA14-E5B2-4CFC-974F-EFFC567EE831}" presName="rootComposite" presStyleCnt="0"/>
      <dgm:spPr/>
    </dgm:pt>
    <dgm:pt modelId="{740A0395-7F98-4F78-8A0F-924FC0C856A0}" type="pres">
      <dgm:prSet presAssocID="{DB76AA14-E5B2-4CFC-974F-EFFC567EE831}" presName="rootText" presStyleLbl="node2" presStyleIdx="0" presStyleCnt="2">
        <dgm:presLayoutVars>
          <dgm:chPref val="3"/>
        </dgm:presLayoutVars>
      </dgm:prSet>
      <dgm:spPr/>
    </dgm:pt>
    <dgm:pt modelId="{2D3B2316-817B-4D3A-B115-62258909F03E}" type="pres">
      <dgm:prSet presAssocID="{DB76AA14-E5B2-4CFC-974F-EFFC567EE831}" presName="rootConnector" presStyleLbl="node2" presStyleIdx="0" presStyleCnt="2"/>
      <dgm:spPr/>
    </dgm:pt>
    <dgm:pt modelId="{E7F64C89-4FBA-46AD-8EA2-9716A6965D1F}" type="pres">
      <dgm:prSet presAssocID="{DB76AA14-E5B2-4CFC-974F-EFFC567EE831}" presName="hierChild4" presStyleCnt="0"/>
      <dgm:spPr/>
    </dgm:pt>
    <dgm:pt modelId="{FA45CC3A-0B78-4849-B05D-CE79CF0C1744}" type="pres">
      <dgm:prSet presAssocID="{EDD360EC-D1ED-485C-A858-ECAC8656CD3D}" presName="Name37" presStyleLbl="parChTrans1D3" presStyleIdx="0" presStyleCnt="8"/>
      <dgm:spPr/>
    </dgm:pt>
    <dgm:pt modelId="{1A0B0D43-A13C-4135-962E-18E90AFE0F8E}" type="pres">
      <dgm:prSet presAssocID="{FF26A060-8243-4367-9A0C-77BA1B16E2DF}" presName="hierRoot2" presStyleCnt="0">
        <dgm:presLayoutVars>
          <dgm:hierBranch val="init"/>
        </dgm:presLayoutVars>
      </dgm:prSet>
      <dgm:spPr/>
    </dgm:pt>
    <dgm:pt modelId="{DA2AC2B8-63D8-4C8E-8FE2-C6632F66BEEF}" type="pres">
      <dgm:prSet presAssocID="{FF26A060-8243-4367-9A0C-77BA1B16E2DF}" presName="rootComposite" presStyleCnt="0"/>
      <dgm:spPr/>
    </dgm:pt>
    <dgm:pt modelId="{436F774E-2ABF-42CC-9C62-509D18A7EF7A}" type="pres">
      <dgm:prSet presAssocID="{FF26A060-8243-4367-9A0C-77BA1B16E2DF}" presName="rootText" presStyleLbl="node3" presStyleIdx="0" presStyleCnt="8">
        <dgm:presLayoutVars>
          <dgm:chPref val="3"/>
        </dgm:presLayoutVars>
      </dgm:prSet>
      <dgm:spPr/>
    </dgm:pt>
    <dgm:pt modelId="{289BBB8F-E078-4C7A-B432-C635828DDC88}" type="pres">
      <dgm:prSet presAssocID="{FF26A060-8243-4367-9A0C-77BA1B16E2DF}" presName="rootConnector" presStyleLbl="node3" presStyleIdx="0" presStyleCnt="8"/>
      <dgm:spPr/>
    </dgm:pt>
    <dgm:pt modelId="{DD23F903-3EC8-4C3B-82C9-36FE4C9E4DBF}" type="pres">
      <dgm:prSet presAssocID="{FF26A060-8243-4367-9A0C-77BA1B16E2DF}" presName="hierChild4" presStyleCnt="0"/>
      <dgm:spPr/>
    </dgm:pt>
    <dgm:pt modelId="{9C59D5E5-D4B1-4F3C-8491-10B400DD41DB}" type="pres">
      <dgm:prSet presAssocID="{A4A926A3-67B2-46E6-9689-4320D07AF91D}" presName="Name37" presStyleLbl="parChTrans1D4" presStyleIdx="0" presStyleCnt="8"/>
      <dgm:spPr/>
    </dgm:pt>
    <dgm:pt modelId="{4292F73A-ACF1-483B-A56F-55CF7A83F4D9}" type="pres">
      <dgm:prSet presAssocID="{91553C7E-A73C-48AD-AB5C-ABFF0A6F9924}" presName="hierRoot2" presStyleCnt="0">
        <dgm:presLayoutVars>
          <dgm:hierBranch val="init"/>
        </dgm:presLayoutVars>
      </dgm:prSet>
      <dgm:spPr/>
    </dgm:pt>
    <dgm:pt modelId="{B2ECE3C0-2760-4267-A3B2-3BDD6BED87AF}" type="pres">
      <dgm:prSet presAssocID="{91553C7E-A73C-48AD-AB5C-ABFF0A6F9924}" presName="rootComposite" presStyleCnt="0"/>
      <dgm:spPr/>
    </dgm:pt>
    <dgm:pt modelId="{170C4C38-5A37-436D-B645-DF84E12AB9E3}" type="pres">
      <dgm:prSet presAssocID="{91553C7E-A73C-48AD-AB5C-ABFF0A6F9924}" presName="rootText" presStyleLbl="node4" presStyleIdx="0" presStyleCnt="8">
        <dgm:presLayoutVars>
          <dgm:chPref val="3"/>
        </dgm:presLayoutVars>
      </dgm:prSet>
      <dgm:spPr/>
    </dgm:pt>
    <dgm:pt modelId="{413E6AB8-9811-48BB-924C-7B74A0046C35}" type="pres">
      <dgm:prSet presAssocID="{91553C7E-A73C-48AD-AB5C-ABFF0A6F9924}" presName="rootConnector" presStyleLbl="node4" presStyleIdx="0" presStyleCnt="8"/>
      <dgm:spPr/>
    </dgm:pt>
    <dgm:pt modelId="{6E7F457D-88FC-420E-9FDD-90BDFA9E0234}" type="pres">
      <dgm:prSet presAssocID="{91553C7E-A73C-48AD-AB5C-ABFF0A6F9924}" presName="hierChild4" presStyleCnt="0"/>
      <dgm:spPr/>
    </dgm:pt>
    <dgm:pt modelId="{251EC88F-3D80-4922-A11D-972A99EA2617}" type="pres">
      <dgm:prSet presAssocID="{91553C7E-A73C-48AD-AB5C-ABFF0A6F9924}" presName="hierChild5" presStyleCnt="0"/>
      <dgm:spPr/>
    </dgm:pt>
    <dgm:pt modelId="{3419A17A-395F-4A4F-AD2B-1A722AF5EEC7}" type="pres">
      <dgm:prSet presAssocID="{FF26A060-8243-4367-9A0C-77BA1B16E2DF}" presName="hierChild5" presStyleCnt="0"/>
      <dgm:spPr/>
    </dgm:pt>
    <dgm:pt modelId="{BA1EDB5A-ED17-4BCF-89E2-70C1888B4397}" type="pres">
      <dgm:prSet presAssocID="{FD349561-495A-40E6-AF2B-67C1886916A6}" presName="Name37" presStyleLbl="parChTrans1D3" presStyleIdx="1" presStyleCnt="8"/>
      <dgm:spPr/>
    </dgm:pt>
    <dgm:pt modelId="{D430CAC4-38D9-4330-A8B0-9939BE08E5D5}" type="pres">
      <dgm:prSet presAssocID="{C44BC157-68A1-457B-A86B-1AEF95F88A11}" presName="hierRoot2" presStyleCnt="0">
        <dgm:presLayoutVars>
          <dgm:hierBranch val="init"/>
        </dgm:presLayoutVars>
      </dgm:prSet>
      <dgm:spPr/>
    </dgm:pt>
    <dgm:pt modelId="{4EBC20E9-2647-4EA2-A83D-06B2A91F394B}" type="pres">
      <dgm:prSet presAssocID="{C44BC157-68A1-457B-A86B-1AEF95F88A11}" presName="rootComposite" presStyleCnt="0"/>
      <dgm:spPr/>
    </dgm:pt>
    <dgm:pt modelId="{BAAE7E9F-74A4-40DE-9B5A-87865BBFEA70}" type="pres">
      <dgm:prSet presAssocID="{C44BC157-68A1-457B-A86B-1AEF95F88A11}" presName="rootText" presStyleLbl="node3" presStyleIdx="1" presStyleCnt="8">
        <dgm:presLayoutVars>
          <dgm:chPref val="3"/>
        </dgm:presLayoutVars>
      </dgm:prSet>
      <dgm:spPr/>
    </dgm:pt>
    <dgm:pt modelId="{DB0DCD1F-2A23-4996-8D9D-639CFFA4D79C}" type="pres">
      <dgm:prSet presAssocID="{C44BC157-68A1-457B-A86B-1AEF95F88A11}" presName="rootConnector" presStyleLbl="node3" presStyleIdx="1" presStyleCnt="8"/>
      <dgm:spPr/>
    </dgm:pt>
    <dgm:pt modelId="{3B97277D-4E80-4D09-9A17-78B353D05EB6}" type="pres">
      <dgm:prSet presAssocID="{C44BC157-68A1-457B-A86B-1AEF95F88A11}" presName="hierChild4" presStyleCnt="0"/>
      <dgm:spPr/>
    </dgm:pt>
    <dgm:pt modelId="{B24F350B-01C1-EC4E-BC80-2B8869BADF6E}" type="pres">
      <dgm:prSet presAssocID="{EA0ED266-5C43-D644-95AB-380291109CCC}" presName="Name37" presStyleLbl="parChTrans1D4" presStyleIdx="1" presStyleCnt="8"/>
      <dgm:spPr/>
    </dgm:pt>
    <dgm:pt modelId="{F4C71FFE-C4D0-2945-9D90-A97B4E532031}" type="pres">
      <dgm:prSet presAssocID="{F1F930CA-8118-AF43-869C-A9BDC5BECD98}" presName="hierRoot2" presStyleCnt="0">
        <dgm:presLayoutVars>
          <dgm:hierBranch val="init"/>
        </dgm:presLayoutVars>
      </dgm:prSet>
      <dgm:spPr/>
    </dgm:pt>
    <dgm:pt modelId="{20954975-72E9-9347-B088-18DB2878D490}" type="pres">
      <dgm:prSet presAssocID="{F1F930CA-8118-AF43-869C-A9BDC5BECD98}" presName="rootComposite" presStyleCnt="0"/>
      <dgm:spPr/>
    </dgm:pt>
    <dgm:pt modelId="{DED054E8-2FF4-4D46-BC32-1BC8E4D1544C}" type="pres">
      <dgm:prSet presAssocID="{F1F930CA-8118-AF43-869C-A9BDC5BECD98}" presName="rootText" presStyleLbl="node4" presStyleIdx="1" presStyleCnt="8">
        <dgm:presLayoutVars>
          <dgm:chPref val="3"/>
        </dgm:presLayoutVars>
      </dgm:prSet>
      <dgm:spPr/>
    </dgm:pt>
    <dgm:pt modelId="{1661A546-6595-B242-9527-C6D672A02D5B}" type="pres">
      <dgm:prSet presAssocID="{F1F930CA-8118-AF43-869C-A9BDC5BECD98}" presName="rootConnector" presStyleLbl="node4" presStyleIdx="1" presStyleCnt="8"/>
      <dgm:spPr/>
    </dgm:pt>
    <dgm:pt modelId="{9626D1DE-1208-5943-BB33-4F1419E76FDF}" type="pres">
      <dgm:prSet presAssocID="{F1F930CA-8118-AF43-869C-A9BDC5BECD98}" presName="hierChild4" presStyleCnt="0"/>
      <dgm:spPr/>
    </dgm:pt>
    <dgm:pt modelId="{3CC75A5F-0E1E-B245-A307-F0654DA106A7}" type="pres">
      <dgm:prSet presAssocID="{F1F930CA-8118-AF43-869C-A9BDC5BECD98}" presName="hierChild5" presStyleCnt="0"/>
      <dgm:spPr/>
    </dgm:pt>
    <dgm:pt modelId="{C07BAEB0-3122-4548-93F4-BAA39C9572C9}" type="pres">
      <dgm:prSet presAssocID="{C44BC157-68A1-457B-A86B-1AEF95F88A11}" presName="hierChild5" presStyleCnt="0"/>
      <dgm:spPr/>
    </dgm:pt>
    <dgm:pt modelId="{DF07CE45-9876-8841-9DD8-C723176A8295}" type="pres">
      <dgm:prSet presAssocID="{5525408B-D037-B54F-A5A6-9FBE09B88E3E}" presName="Name37" presStyleLbl="parChTrans1D3" presStyleIdx="2" presStyleCnt="8"/>
      <dgm:spPr/>
    </dgm:pt>
    <dgm:pt modelId="{E6943A48-9714-6945-9F76-E407E2C348CA}" type="pres">
      <dgm:prSet presAssocID="{2681ECC1-F152-0641-B176-5AF210158920}" presName="hierRoot2" presStyleCnt="0">
        <dgm:presLayoutVars>
          <dgm:hierBranch val="init"/>
        </dgm:presLayoutVars>
      </dgm:prSet>
      <dgm:spPr/>
    </dgm:pt>
    <dgm:pt modelId="{57504B96-820E-4D4B-BDFB-929FA4721B03}" type="pres">
      <dgm:prSet presAssocID="{2681ECC1-F152-0641-B176-5AF210158920}" presName="rootComposite" presStyleCnt="0"/>
      <dgm:spPr/>
    </dgm:pt>
    <dgm:pt modelId="{34DC2A82-AF89-3B45-BB5B-7CDC3B227F53}" type="pres">
      <dgm:prSet presAssocID="{2681ECC1-F152-0641-B176-5AF210158920}" presName="rootText" presStyleLbl="node3" presStyleIdx="2" presStyleCnt="8">
        <dgm:presLayoutVars>
          <dgm:chPref val="3"/>
        </dgm:presLayoutVars>
      </dgm:prSet>
      <dgm:spPr/>
    </dgm:pt>
    <dgm:pt modelId="{0266DF4B-8A06-484A-9C29-D264EC6ACD3E}" type="pres">
      <dgm:prSet presAssocID="{2681ECC1-F152-0641-B176-5AF210158920}" presName="rootConnector" presStyleLbl="node3" presStyleIdx="2" presStyleCnt="8"/>
      <dgm:spPr/>
    </dgm:pt>
    <dgm:pt modelId="{CA43819C-D593-8F43-9D10-0AA1D10F843E}" type="pres">
      <dgm:prSet presAssocID="{2681ECC1-F152-0641-B176-5AF210158920}" presName="hierChild4" presStyleCnt="0"/>
      <dgm:spPr/>
    </dgm:pt>
    <dgm:pt modelId="{55221607-F312-4178-BDC3-F813059C60D1}" type="pres">
      <dgm:prSet presAssocID="{DF8A79B0-C0DD-46DC-8C6E-0D3E08902466}" presName="Name37" presStyleLbl="parChTrans1D4" presStyleIdx="2" presStyleCnt="8"/>
      <dgm:spPr/>
    </dgm:pt>
    <dgm:pt modelId="{E454F4B8-583C-45A1-9DFC-E7FF448DED9D}" type="pres">
      <dgm:prSet presAssocID="{6949D86A-E66F-4398-BE1D-E1ABD33E66E3}" presName="hierRoot2" presStyleCnt="0">
        <dgm:presLayoutVars>
          <dgm:hierBranch val="init"/>
        </dgm:presLayoutVars>
      </dgm:prSet>
      <dgm:spPr/>
    </dgm:pt>
    <dgm:pt modelId="{2A13351A-AABA-4FF3-95AF-B4F1B32857A8}" type="pres">
      <dgm:prSet presAssocID="{6949D86A-E66F-4398-BE1D-E1ABD33E66E3}" presName="rootComposite" presStyleCnt="0"/>
      <dgm:spPr/>
    </dgm:pt>
    <dgm:pt modelId="{B888F443-7F53-4AFD-ACF8-774234640E39}" type="pres">
      <dgm:prSet presAssocID="{6949D86A-E66F-4398-BE1D-E1ABD33E66E3}" presName="rootText" presStyleLbl="node4" presStyleIdx="2" presStyleCnt="8">
        <dgm:presLayoutVars>
          <dgm:chPref val="3"/>
        </dgm:presLayoutVars>
      </dgm:prSet>
      <dgm:spPr/>
    </dgm:pt>
    <dgm:pt modelId="{C1AD6210-5E5A-4210-8A98-21BD0A2505D9}" type="pres">
      <dgm:prSet presAssocID="{6949D86A-E66F-4398-BE1D-E1ABD33E66E3}" presName="rootConnector" presStyleLbl="node4" presStyleIdx="2" presStyleCnt="8"/>
      <dgm:spPr/>
    </dgm:pt>
    <dgm:pt modelId="{4A9BFBC2-56C2-4C52-A11D-F47A67BA0E47}" type="pres">
      <dgm:prSet presAssocID="{6949D86A-E66F-4398-BE1D-E1ABD33E66E3}" presName="hierChild4" presStyleCnt="0"/>
      <dgm:spPr/>
    </dgm:pt>
    <dgm:pt modelId="{3E6D7023-CC0F-4E89-A34E-83AD5BFA9397}" type="pres">
      <dgm:prSet presAssocID="{6949D86A-E66F-4398-BE1D-E1ABD33E66E3}" presName="hierChild5" presStyleCnt="0"/>
      <dgm:spPr/>
    </dgm:pt>
    <dgm:pt modelId="{D38D41BE-A726-E64B-A30B-C61B18F8AEE0}" type="pres">
      <dgm:prSet presAssocID="{2681ECC1-F152-0641-B176-5AF210158920}" presName="hierChild5" presStyleCnt="0"/>
      <dgm:spPr/>
    </dgm:pt>
    <dgm:pt modelId="{652DBFA5-D85D-49E1-A320-5381460A4B58}" type="pres">
      <dgm:prSet presAssocID="{C83BED25-BB78-4354-81A4-CEAC6D2BFB84}" presName="Name37" presStyleLbl="parChTrans1D3" presStyleIdx="3" presStyleCnt="8"/>
      <dgm:spPr/>
    </dgm:pt>
    <dgm:pt modelId="{52E71147-AAD3-42AA-A9DD-18A15A64EA2A}" type="pres">
      <dgm:prSet presAssocID="{2C0D68D1-C532-4FFB-AE6C-142524C1F1E2}" presName="hierRoot2" presStyleCnt="0">
        <dgm:presLayoutVars>
          <dgm:hierBranch val="init"/>
        </dgm:presLayoutVars>
      </dgm:prSet>
      <dgm:spPr/>
    </dgm:pt>
    <dgm:pt modelId="{F45A607B-65FF-4F62-9C5A-5EEFBF3E4C90}" type="pres">
      <dgm:prSet presAssocID="{2C0D68D1-C532-4FFB-AE6C-142524C1F1E2}" presName="rootComposite" presStyleCnt="0"/>
      <dgm:spPr/>
    </dgm:pt>
    <dgm:pt modelId="{8D5D4524-3F0A-40B5-9B1B-0484120DD831}" type="pres">
      <dgm:prSet presAssocID="{2C0D68D1-C532-4FFB-AE6C-142524C1F1E2}" presName="rootText" presStyleLbl="node3" presStyleIdx="3" presStyleCnt="8">
        <dgm:presLayoutVars>
          <dgm:chPref val="3"/>
        </dgm:presLayoutVars>
      </dgm:prSet>
      <dgm:spPr/>
    </dgm:pt>
    <dgm:pt modelId="{16DEB4A1-1ED9-4484-861C-8886C78497D9}" type="pres">
      <dgm:prSet presAssocID="{2C0D68D1-C532-4FFB-AE6C-142524C1F1E2}" presName="rootConnector" presStyleLbl="node3" presStyleIdx="3" presStyleCnt="8"/>
      <dgm:spPr/>
    </dgm:pt>
    <dgm:pt modelId="{D29F050B-F6BA-49BC-987C-DD7291F0DC70}" type="pres">
      <dgm:prSet presAssocID="{2C0D68D1-C532-4FFB-AE6C-142524C1F1E2}" presName="hierChild4" presStyleCnt="0"/>
      <dgm:spPr/>
    </dgm:pt>
    <dgm:pt modelId="{DED9660D-0395-4FC5-BBCB-BC812791744A}" type="pres">
      <dgm:prSet presAssocID="{7FC1CE24-4EC6-4960-9F8B-E6EC820FEAC8}" presName="Name37" presStyleLbl="parChTrans1D4" presStyleIdx="3" presStyleCnt="8"/>
      <dgm:spPr/>
    </dgm:pt>
    <dgm:pt modelId="{B123059F-79DC-435D-8499-7EA8F3125B45}" type="pres">
      <dgm:prSet presAssocID="{F28BA191-B398-4E7D-A4FB-97079DB04B70}" presName="hierRoot2" presStyleCnt="0">
        <dgm:presLayoutVars>
          <dgm:hierBranch val="init"/>
        </dgm:presLayoutVars>
      </dgm:prSet>
      <dgm:spPr/>
    </dgm:pt>
    <dgm:pt modelId="{E162BF3D-1C2D-43D5-877F-6B0BCBA9450A}" type="pres">
      <dgm:prSet presAssocID="{F28BA191-B398-4E7D-A4FB-97079DB04B70}" presName="rootComposite" presStyleCnt="0"/>
      <dgm:spPr/>
    </dgm:pt>
    <dgm:pt modelId="{7237C824-0C7D-4D1B-8925-8C842F45D3D6}" type="pres">
      <dgm:prSet presAssocID="{F28BA191-B398-4E7D-A4FB-97079DB04B70}" presName="rootText" presStyleLbl="node4" presStyleIdx="3" presStyleCnt="8">
        <dgm:presLayoutVars>
          <dgm:chPref val="3"/>
        </dgm:presLayoutVars>
      </dgm:prSet>
      <dgm:spPr/>
    </dgm:pt>
    <dgm:pt modelId="{79452AEF-E5B1-44BA-AF38-C6FCC2D6FA3A}" type="pres">
      <dgm:prSet presAssocID="{F28BA191-B398-4E7D-A4FB-97079DB04B70}" presName="rootConnector" presStyleLbl="node4" presStyleIdx="3" presStyleCnt="8"/>
      <dgm:spPr/>
    </dgm:pt>
    <dgm:pt modelId="{EFCFA7BD-F40E-4049-B78B-7BC8DB57D8D5}" type="pres">
      <dgm:prSet presAssocID="{F28BA191-B398-4E7D-A4FB-97079DB04B70}" presName="hierChild4" presStyleCnt="0"/>
      <dgm:spPr/>
    </dgm:pt>
    <dgm:pt modelId="{76292C67-3AF6-4BC1-B457-476654FD1FFE}" type="pres">
      <dgm:prSet presAssocID="{F28BA191-B398-4E7D-A4FB-97079DB04B70}" presName="hierChild5" presStyleCnt="0"/>
      <dgm:spPr/>
    </dgm:pt>
    <dgm:pt modelId="{8FE76A4F-520D-4453-9654-38DBACACCBB0}" type="pres">
      <dgm:prSet presAssocID="{2C0D68D1-C532-4FFB-AE6C-142524C1F1E2}" presName="hierChild5" presStyleCnt="0"/>
      <dgm:spPr/>
    </dgm:pt>
    <dgm:pt modelId="{FF84EBDA-CA1C-4C72-94B1-C1E54782F48F}" type="pres">
      <dgm:prSet presAssocID="{D65B7B75-7386-4289-B0AE-9476A56CC675}" presName="Name37" presStyleLbl="parChTrans1D3" presStyleIdx="4" presStyleCnt="8"/>
      <dgm:spPr/>
    </dgm:pt>
    <dgm:pt modelId="{854C4555-AF13-430D-84BD-9C6EB6834CBF}" type="pres">
      <dgm:prSet presAssocID="{7B348C97-DB76-47D9-9C14-1339A22F739F}" presName="hierRoot2" presStyleCnt="0">
        <dgm:presLayoutVars>
          <dgm:hierBranch val="init"/>
        </dgm:presLayoutVars>
      </dgm:prSet>
      <dgm:spPr/>
    </dgm:pt>
    <dgm:pt modelId="{AFEB7F9E-946D-4F31-81E0-9D20417DA6CA}" type="pres">
      <dgm:prSet presAssocID="{7B348C97-DB76-47D9-9C14-1339A22F739F}" presName="rootComposite" presStyleCnt="0"/>
      <dgm:spPr/>
    </dgm:pt>
    <dgm:pt modelId="{1B957AD6-2155-43A8-94BF-4FC68D7116F8}" type="pres">
      <dgm:prSet presAssocID="{7B348C97-DB76-47D9-9C14-1339A22F739F}" presName="rootText" presStyleLbl="node3" presStyleIdx="4" presStyleCnt="8">
        <dgm:presLayoutVars>
          <dgm:chPref val="3"/>
        </dgm:presLayoutVars>
      </dgm:prSet>
      <dgm:spPr/>
    </dgm:pt>
    <dgm:pt modelId="{4E1F449B-E2B0-4D6D-B754-026F37EE205B}" type="pres">
      <dgm:prSet presAssocID="{7B348C97-DB76-47D9-9C14-1339A22F739F}" presName="rootConnector" presStyleLbl="node3" presStyleIdx="4" presStyleCnt="8"/>
      <dgm:spPr/>
    </dgm:pt>
    <dgm:pt modelId="{5763F826-2FF3-4A89-A78D-6C8146057636}" type="pres">
      <dgm:prSet presAssocID="{7B348C97-DB76-47D9-9C14-1339A22F739F}" presName="hierChild4" presStyleCnt="0"/>
      <dgm:spPr/>
    </dgm:pt>
    <dgm:pt modelId="{1F8E3A24-9FC1-442A-9B8B-C56AFEBC2BA6}" type="pres">
      <dgm:prSet presAssocID="{84CF41D8-CD17-4E3A-8E10-2DB2129F9244}" presName="Name37" presStyleLbl="parChTrans1D4" presStyleIdx="4" presStyleCnt="8"/>
      <dgm:spPr/>
    </dgm:pt>
    <dgm:pt modelId="{81E84FA7-B2F5-4FF5-B84F-B7201C328389}" type="pres">
      <dgm:prSet presAssocID="{0F79D3A9-EC2A-4F1F-AF55-1C24C1FDB416}" presName="hierRoot2" presStyleCnt="0">
        <dgm:presLayoutVars>
          <dgm:hierBranch val="init"/>
        </dgm:presLayoutVars>
      </dgm:prSet>
      <dgm:spPr/>
    </dgm:pt>
    <dgm:pt modelId="{EC5B9DC6-F834-4612-9F38-E1E95DEBE040}" type="pres">
      <dgm:prSet presAssocID="{0F79D3A9-EC2A-4F1F-AF55-1C24C1FDB416}" presName="rootComposite" presStyleCnt="0"/>
      <dgm:spPr/>
    </dgm:pt>
    <dgm:pt modelId="{1ED56033-F883-4E3A-A4A8-4DAD05579003}" type="pres">
      <dgm:prSet presAssocID="{0F79D3A9-EC2A-4F1F-AF55-1C24C1FDB416}" presName="rootText" presStyleLbl="node4" presStyleIdx="4" presStyleCnt="8">
        <dgm:presLayoutVars>
          <dgm:chPref val="3"/>
        </dgm:presLayoutVars>
      </dgm:prSet>
      <dgm:spPr/>
    </dgm:pt>
    <dgm:pt modelId="{556DD0C6-F30C-4EFB-9CB7-1FB10B37C27D}" type="pres">
      <dgm:prSet presAssocID="{0F79D3A9-EC2A-4F1F-AF55-1C24C1FDB416}" presName="rootConnector" presStyleLbl="node4" presStyleIdx="4" presStyleCnt="8"/>
      <dgm:spPr/>
    </dgm:pt>
    <dgm:pt modelId="{BADE4B71-9F94-4898-9A67-CB4D8900B729}" type="pres">
      <dgm:prSet presAssocID="{0F79D3A9-EC2A-4F1F-AF55-1C24C1FDB416}" presName="hierChild4" presStyleCnt="0"/>
      <dgm:spPr/>
    </dgm:pt>
    <dgm:pt modelId="{149275DE-C87E-4238-83AC-02B2717B0C05}" type="pres">
      <dgm:prSet presAssocID="{0F79D3A9-EC2A-4F1F-AF55-1C24C1FDB416}" presName="hierChild5" presStyleCnt="0"/>
      <dgm:spPr/>
    </dgm:pt>
    <dgm:pt modelId="{FAF9FD5F-7250-4536-9E95-FDA2A3AF1EA4}" type="pres">
      <dgm:prSet presAssocID="{7B348C97-DB76-47D9-9C14-1339A22F739F}" presName="hierChild5" presStyleCnt="0"/>
      <dgm:spPr/>
    </dgm:pt>
    <dgm:pt modelId="{ECB59C96-7050-4E98-810C-A8C9E02C9D7F}" type="pres">
      <dgm:prSet presAssocID="{DB76AA14-E5B2-4CFC-974F-EFFC567EE831}" presName="hierChild5" presStyleCnt="0"/>
      <dgm:spPr/>
    </dgm:pt>
    <dgm:pt modelId="{BFEB5884-399E-4BAF-88B1-9935B8377AA3}" type="pres">
      <dgm:prSet presAssocID="{818ACCA4-4253-4A2A-A973-DF5D80E78812}" presName="Name37" presStyleLbl="parChTrans1D2" presStyleIdx="1" presStyleCnt="2"/>
      <dgm:spPr/>
    </dgm:pt>
    <dgm:pt modelId="{3A07CB45-2BB5-47A2-A71F-9A901CCF920E}" type="pres">
      <dgm:prSet presAssocID="{956116BC-AD33-492D-8158-77480629DA10}" presName="hierRoot2" presStyleCnt="0">
        <dgm:presLayoutVars>
          <dgm:hierBranch val="init"/>
        </dgm:presLayoutVars>
      </dgm:prSet>
      <dgm:spPr/>
    </dgm:pt>
    <dgm:pt modelId="{8D302F68-6F8D-49FB-9287-18D26E5135A0}" type="pres">
      <dgm:prSet presAssocID="{956116BC-AD33-492D-8158-77480629DA10}" presName="rootComposite" presStyleCnt="0"/>
      <dgm:spPr/>
    </dgm:pt>
    <dgm:pt modelId="{CBC52E5B-5592-4BC4-AF93-0EF2DB42F23E}" type="pres">
      <dgm:prSet presAssocID="{956116BC-AD33-492D-8158-77480629DA10}" presName="rootText" presStyleLbl="node2" presStyleIdx="1" presStyleCnt="2" custScaleX="150178">
        <dgm:presLayoutVars>
          <dgm:chPref val="3"/>
        </dgm:presLayoutVars>
      </dgm:prSet>
      <dgm:spPr/>
    </dgm:pt>
    <dgm:pt modelId="{322F81B2-A85C-499F-8E41-EA05CFC4C47B}" type="pres">
      <dgm:prSet presAssocID="{956116BC-AD33-492D-8158-77480629DA10}" presName="rootConnector" presStyleLbl="node2" presStyleIdx="1" presStyleCnt="2"/>
      <dgm:spPr/>
    </dgm:pt>
    <dgm:pt modelId="{0D16EE58-86D9-41FE-8C05-035F0D8C3AF6}" type="pres">
      <dgm:prSet presAssocID="{956116BC-AD33-492D-8158-77480629DA10}" presName="hierChild4" presStyleCnt="0"/>
      <dgm:spPr/>
    </dgm:pt>
    <dgm:pt modelId="{9145F37F-1F27-48BF-B05A-94CAADC16869}" type="pres">
      <dgm:prSet presAssocID="{D8061349-1F76-4A0E-A43A-9415FE48506E}" presName="Name37" presStyleLbl="parChTrans1D3" presStyleIdx="5" presStyleCnt="8"/>
      <dgm:spPr/>
    </dgm:pt>
    <dgm:pt modelId="{0C61AC7C-C30A-4DE6-91DE-EE32B02ECD04}" type="pres">
      <dgm:prSet presAssocID="{41F02695-4217-4AAC-AAF0-6FF1769AEDB5}" presName="hierRoot2" presStyleCnt="0">
        <dgm:presLayoutVars>
          <dgm:hierBranch val="init"/>
        </dgm:presLayoutVars>
      </dgm:prSet>
      <dgm:spPr/>
    </dgm:pt>
    <dgm:pt modelId="{0E64FDC1-63AE-41F8-9954-087B6DFF4A49}" type="pres">
      <dgm:prSet presAssocID="{41F02695-4217-4AAC-AAF0-6FF1769AEDB5}" presName="rootComposite" presStyleCnt="0"/>
      <dgm:spPr/>
    </dgm:pt>
    <dgm:pt modelId="{9AF6A88F-EE94-4477-A56D-AED8092ED27F}" type="pres">
      <dgm:prSet presAssocID="{41F02695-4217-4AAC-AAF0-6FF1769AEDB5}" presName="rootText" presStyleLbl="node3" presStyleIdx="5" presStyleCnt="8">
        <dgm:presLayoutVars>
          <dgm:chPref val="3"/>
        </dgm:presLayoutVars>
      </dgm:prSet>
      <dgm:spPr/>
    </dgm:pt>
    <dgm:pt modelId="{233F3197-23CD-4A77-8FD4-15A096D36004}" type="pres">
      <dgm:prSet presAssocID="{41F02695-4217-4AAC-AAF0-6FF1769AEDB5}" presName="rootConnector" presStyleLbl="node3" presStyleIdx="5" presStyleCnt="8"/>
      <dgm:spPr/>
    </dgm:pt>
    <dgm:pt modelId="{BBF8DB03-BB69-497F-938F-C61B11257731}" type="pres">
      <dgm:prSet presAssocID="{41F02695-4217-4AAC-AAF0-6FF1769AEDB5}" presName="hierChild4" presStyleCnt="0"/>
      <dgm:spPr/>
    </dgm:pt>
    <dgm:pt modelId="{72E15475-8752-4769-855C-87F4EA764754}" type="pres">
      <dgm:prSet presAssocID="{2B59A82A-AF93-4F32-9A2E-B69861EEDEF1}" presName="Name37" presStyleLbl="parChTrans1D4" presStyleIdx="5" presStyleCnt="8"/>
      <dgm:spPr/>
    </dgm:pt>
    <dgm:pt modelId="{F0B609FA-940B-4600-9DD8-095CF733B367}" type="pres">
      <dgm:prSet presAssocID="{31C67234-1A76-43E2-9FB7-D9FD0ABC1C56}" presName="hierRoot2" presStyleCnt="0">
        <dgm:presLayoutVars>
          <dgm:hierBranch val="init"/>
        </dgm:presLayoutVars>
      </dgm:prSet>
      <dgm:spPr/>
    </dgm:pt>
    <dgm:pt modelId="{1DE3362F-3F96-4107-AF00-0A92B841A1B4}" type="pres">
      <dgm:prSet presAssocID="{31C67234-1A76-43E2-9FB7-D9FD0ABC1C56}" presName="rootComposite" presStyleCnt="0"/>
      <dgm:spPr/>
    </dgm:pt>
    <dgm:pt modelId="{90AF18D2-3CE1-438D-8409-414FDC7350A1}" type="pres">
      <dgm:prSet presAssocID="{31C67234-1A76-43E2-9FB7-D9FD0ABC1C56}" presName="rootText" presStyleLbl="node4" presStyleIdx="5" presStyleCnt="8">
        <dgm:presLayoutVars>
          <dgm:chPref val="3"/>
        </dgm:presLayoutVars>
      </dgm:prSet>
      <dgm:spPr/>
    </dgm:pt>
    <dgm:pt modelId="{A5327773-D974-4E12-B0D8-578A3F2C2122}" type="pres">
      <dgm:prSet presAssocID="{31C67234-1A76-43E2-9FB7-D9FD0ABC1C56}" presName="rootConnector" presStyleLbl="node4" presStyleIdx="5" presStyleCnt="8"/>
      <dgm:spPr/>
    </dgm:pt>
    <dgm:pt modelId="{DAD5EC2A-50BF-4786-909F-A618D899A3C4}" type="pres">
      <dgm:prSet presAssocID="{31C67234-1A76-43E2-9FB7-D9FD0ABC1C56}" presName="hierChild4" presStyleCnt="0"/>
      <dgm:spPr/>
    </dgm:pt>
    <dgm:pt modelId="{327C366C-8229-49FB-B93B-08CA7FB7A61D}" type="pres">
      <dgm:prSet presAssocID="{31C67234-1A76-43E2-9FB7-D9FD0ABC1C56}" presName="hierChild5" presStyleCnt="0"/>
      <dgm:spPr/>
    </dgm:pt>
    <dgm:pt modelId="{FCBDE334-2080-402C-A22E-EFBA59BC9F48}" type="pres">
      <dgm:prSet presAssocID="{41F02695-4217-4AAC-AAF0-6FF1769AEDB5}" presName="hierChild5" presStyleCnt="0"/>
      <dgm:spPr/>
    </dgm:pt>
    <dgm:pt modelId="{D26B73D7-7624-4C27-9D91-6F1FA61FD154}" type="pres">
      <dgm:prSet presAssocID="{FA543858-E6BF-4124-8F31-C66861ED1941}" presName="Name37" presStyleLbl="parChTrans1D3" presStyleIdx="6" presStyleCnt="8"/>
      <dgm:spPr/>
    </dgm:pt>
    <dgm:pt modelId="{698A6106-077B-4C85-88F1-A9CD3CB94E85}" type="pres">
      <dgm:prSet presAssocID="{1B054DD5-DB8E-4E61-8A14-358893CEFA39}" presName="hierRoot2" presStyleCnt="0">
        <dgm:presLayoutVars>
          <dgm:hierBranch val="init"/>
        </dgm:presLayoutVars>
      </dgm:prSet>
      <dgm:spPr/>
    </dgm:pt>
    <dgm:pt modelId="{02EBC235-A74D-4B22-832E-0FE98DDDE9E8}" type="pres">
      <dgm:prSet presAssocID="{1B054DD5-DB8E-4E61-8A14-358893CEFA39}" presName="rootComposite" presStyleCnt="0"/>
      <dgm:spPr/>
    </dgm:pt>
    <dgm:pt modelId="{2E9C83DA-49D1-4608-96BB-CFEA977C1097}" type="pres">
      <dgm:prSet presAssocID="{1B054DD5-DB8E-4E61-8A14-358893CEFA39}" presName="rootText" presStyleLbl="node3" presStyleIdx="6" presStyleCnt="8">
        <dgm:presLayoutVars>
          <dgm:chPref val="3"/>
        </dgm:presLayoutVars>
      </dgm:prSet>
      <dgm:spPr/>
    </dgm:pt>
    <dgm:pt modelId="{245314D3-2E18-41DE-A75A-52EC4A865FFF}" type="pres">
      <dgm:prSet presAssocID="{1B054DD5-DB8E-4E61-8A14-358893CEFA39}" presName="rootConnector" presStyleLbl="node3" presStyleIdx="6" presStyleCnt="8"/>
      <dgm:spPr/>
    </dgm:pt>
    <dgm:pt modelId="{B5329392-8E53-4FCD-836F-CFB97208F4E3}" type="pres">
      <dgm:prSet presAssocID="{1B054DD5-DB8E-4E61-8A14-358893CEFA39}" presName="hierChild4" presStyleCnt="0"/>
      <dgm:spPr/>
    </dgm:pt>
    <dgm:pt modelId="{93154324-0028-4A1E-9002-C3E362D99081}" type="pres">
      <dgm:prSet presAssocID="{CEA0EBAC-3EE6-4205-AC60-428A6EF03280}" presName="Name37" presStyleLbl="parChTrans1D4" presStyleIdx="6" presStyleCnt="8"/>
      <dgm:spPr/>
    </dgm:pt>
    <dgm:pt modelId="{037424A3-910A-4DD0-84A2-6B3A660A5E67}" type="pres">
      <dgm:prSet presAssocID="{B18AF205-772B-4FB3-A5B7-84EC84666A27}" presName="hierRoot2" presStyleCnt="0">
        <dgm:presLayoutVars>
          <dgm:hierBranch val="init"/>
        </dgm:presLayoutVars>
      </dgm:prSet>
      <dgm:spPr/>
    </dgm:pt>
    <dgm:pt modelId="{4C2F3D5F-D741-46A9-9427-FB0D88D0793B}" type="pres">
      <dgm:prSet presAssocID="{B18AF205-772B-4FB3-A5B7-84EC84666A27}" presName="rootComposite" presStyleCnt="0"/>
      <dgm:spPr/>
    </dgm:pt>
    <dgm:pt modelId="{D5BD4555-9442-4405-BDF8-B05DE1D5B039}" type="pres">
      <dgm:prSet presAssocID="{B18AF205-772B-4FB3-A5B7-84EC84666A27}" presName="rootText" presStyleLbl="node4" presStyleIdx="6" presStyleCnt="8">
        <dgm:presLayoutVars>
          <dgm:chPref val="3"/>
        </dgm:presLayoutVars>
      </dgm:prSet>
      <dgm:spPr/>
    </dgm:pt>
    <dgm:pt modelId="{C4284D33-2ED4-4086-BC8E-4851EED6B7F7}" type="pres">
      <dgm:prSet presAssocID="{B18AF205-772B-4FB3-A5B7-84EC84666A27}" presName="rootConnector" presStyleLbl="node4" presStyleIdx="6" presStyleCnt="8"/>
      <dgm:spPr/>
    </dgm:pt>
    <dgm:pt modelId="{287B17C7-882C-41A9-BA45-FB9E725733C7}" type="pres">
      <dgm:prSet presAssocID="{B18AF205-772B-4FB3-A5B7-84EC84666A27}" presName="hierChild4" presStyleCnt="0"/>
      <dgm:spPr/>
    </dgm:pt>
    <dgm:pt modelId="{605F22C5-1A1C-44C6-881A-822CF3990F12}" type="pres">
      <dgm:prSet presAssocID="{B18AF205-772B-4FB3-A5B7-84EC84666A27}" presName="hierChild5" presStyleCnt="0"/>
      <dgm:spPr/>
    </dgm:pt>
    <dgm:pt modelId="{B69A93FE-9C36-48B4-A58C-B384C8016C6C}" type="pres">
      <dgm:prSet presAssocID="{1B054DD5-DB8E-4E61-8A14-358893CEFA39}" presName="hierChild5" presStyleCnt="0"/>
      <dgm:spPr/>
    </dgm:pt>
    <dgm:pt modelId="{BDEB7EDB-EF68-4D15-8AF0-275FA5280617}" type="pres">
      <dgm:prSet presAssocID="{243D1B98-964A-40A6-9B92-70ADF21BE95D}" presName="Name37" presStyleLbl="parChTrans1D3" presStyleIdx="7" presStyleCnt="8"/>
      <dgm:spPr/>
    </dgm:pt>
    <dgm:pt modelId="{AD79EB4A-975A-4BCD-B5B0-715B80747721}" type="pres">
      <dgm:prSet presAssocID="{6F96D57B-443C-4194-A5AF-0F96456D730F}" presName="hierRoot2" presStyleCnt="0">
        <dgm:presLayoutVars>
          <dgm:hierBranch val="init"/>
        </dgm:presLayoutVars>
      </dgm:prSet>
      <dgm:spPr/>
    </dgm:pt>
    <dgm:pt modelId="{A8C388DC-F122-4CE8-A83E-69A0F0D38752}" type="pres">
      <dgm:prSet presAssocID="{6F96D57B-443C-4194-A5AF-0F96456D730F}" presName="rootComposite" presStyleCnt="0"/>
      <dgm:spPr/>
    </dgm:pt>
    <dgm:pt modelId="{E5E37977-981F-4DB2-ACCB-205F955D3CA6}" type="pres">
      <dgm:prSet presAssocID="{6F96D57B-443C-4194-A5AF-0F96456D730F}" presName="rootText" presStyleLbl="node3" presStyleIdx="7" presStyleCnt="8">
        <dgm:presLayoutVars>
          <dgm:chPref val="3"/>
        </dgm:presLayoutVars>
      </dgm:prSet>
      <dgm:spPr/>
    </dgm:pt>
    <dgm:pt modelId="{768DBA47-07C9-4389-8AE8-9AE78EA0AB6A}" type="pres">
      <dgm:prSet presAssocID="{6F96D57B-443C-4194-A5AF-0F96456D730F}" presName="rootConnector" presStyleLbl="node3" presStyleIdx="7" presStyleCnt="8"/>
      <dgm:spPr/>
    </dgm:pt>
    <dgm:pt modelId="{1794B9A1-BE7C-4CF3-AEB1-9C7A4A42C2AB}" type="pres">
      <dgm:prSet presAssocID="{6F96D57B-443C-4194-A5AF-0F96456D730F}" presName="hierChild4" presStyleCnt="0"/>
      <dgm:spPr/>
    </dgm:pt>
    <dgm:pt modelId="{4D55E7B3-F2F0-468D-B248-5EF615E671CE}" type="pres">
      <dgm:prSet presAssocID="{BECF7965-50B3-40FF-979A-00C381C74464}" presName="Name37" presStyleLbl="parChTrans1D4" presStyleIdx="7" presStyleCnt="8"/>
      <dgm:spPr/>
    </dgm:pt>
    <dgm:pt modelId="{D62975FF-EAB8-4351-AB17-2B6A3A3E96FD}" type="pres">
      <dgm:prSet presAssocID="{F24EB55B-81A4-4423-A532-076CD7ED8D30}" presName="hierRoot2" presStyleCnt="0">
        <dgm:presLayoutVars>
          <dgm:hierBranch val="init"/>
        </dgm:presLayoutVars>
      </dgm:prSet>
      <dgm:spPr/>
    </dgm:pt>
    <dgm:pt modelId="{07F4579F-F82B-4CE8-B911-9959DF6F9713}" type="pres">
      <dgm:prSet presAssocID="{F24EB55B-81A4-4423-A532-076CD7ED8D30}" presName="rootComposite" presStyleCnt="0"/>
      <dgm:spPr/>
    </dgm:pt>
    <dgm:pt modelId="{067640AB-CD5B-414A-B7F5-43076629ACB7}" type="pres">
      <dgm:prSet presAssocID="{F24EB55B-81A4-4423-A532-076CD7ED8D30}" presName="rootText" presStyleLbl="node4" presStyleIdx="7" presStyleCnt="8">
        <dgm:presLayoutVars>
          <dgm:chPref val="3"/>
        </dgm:presLayoutVars>
      </dgm:prSet>
      <dgm:spPr/>
    </dgm:pt>
    <dgm:pt modelId="{EC7FAA3E-CA74-473E-A662-C8FEE7242728}" type="pres">
      <dgm:prSet presAssocID="{F24EB55B-81A4-4423-A532-076CD7ED8D30}" presName="rootConnector" presStyleLbl="node4" presStyleIdx="7" presStyleCnt="8"/>
      <dgm:spPr/>
    </dgm:pt>
    <dgm:pt modelId="{95C4CF90-9E41-4036-BFAA-3670ADAE1D80}" type="pres">
      <dgm:prSet presAssocID="{F24EB55B-81A4-4423-A532-076CD7ED8D30}" presName="hierChild4" presStyleCnt="0"/>
      <dgm:spPr/>
    </dgm:pt>
    <dgm:pt modelId="{4BBA9E13-A6AB-48C5-982D-635E0B7D5F0F}" type="pres">
      <dgm:prSet presAssocID="{F24EB55B-81A4-4423-A532-076CD7ED8D30}" presName="hierChild5" presStyleCnt="0"/>
      <dgm:spPr/>
    </dgm:pt>
    <dgm:pt modelId="{E5317221-097A-40F7-8706-D33A46E7F293}" type="pres">
      <dgm:prSet presAssocID="{6F96D57B-443C-4194-A5AF-0F96456D730F}" presName="hierChild5" presStyleCnt="0"/>
      <dgm:spPr/>
    </dgm:pt>
    <dgm:pt modelId="{75583C29-6F1C-4D08-AC1A-C42B4BD4E698}" type="pres">
      <dgm:prSet presAssocID="{956116BC-AD33-492D-8158-77480629DA10}" presName="hierChild5" presStyleCnt="0"/>
      <dgm:spPr/>
    </dgm:pt>
    <dgm:pt modelId="{2821D033-B54C-4229-ACC2-47F5C8AE4B4A}" type="pres">
      <dgm:prSet presAssocID="{E3558EDB-A409-4234-B712-47181D6C04A8}" presName="hierChild3" presStyleCnt="0"/>
      <dgm:spPr/>
    </dgm:pt>
  </dgm:ptLst>
  <dgm:cxnLst>
    <dgm:cxn modelId="{14788C04-52AB-40B1-BE70-DF3D2197700B}" type="presOf" srcId="{6949D86A-E66F-4398-BE1D-E1ABD33E66E3}" destId="{B888F443-7F53-4AFD-ACF8-774234640E39}" srcOrd="0" destOrd="0" presId="urn:microsoft.com/office/officeart/2005/8/layout/orgChart1"/>
    <dgm:cxn modelId="{88681607-BA24-4002-80FD-74FB4A901879}" type="presOf" srcId="{31C67234-1A76-43E2-9FB7-D9FD0ABC1C56}" destId="{A5327773-D974-4E12-B0D8-578A3F2C2122}" srcOrd="1" destOrd="0" presId="urn:microsoft.com/office/officeart/2005/8/layout/orgChart1"/>
    <dgm:cxn modelId="{D1849F07-D320-402F-BCFF-8A62060F1B20}" type="presOf" srcId="{91553C7E-A73C-48AD-AB5C-ABFF0A6F9924}" destId="{413E6AB8-9811-48BB-924C-7B74A0046C35}" srcOrd="1" destOrd="0" presId="urn:microsoft.com/office/officeart/2005/8/layout/orgChart1"/>
    <dgm:cxn modelId="{52058B0C-CC00-4923-A7C5-F9D531CCD996}" srcId="{DB76AA14-E5B2-4CFC-974F-EFFC567EE831}" destId="{2C0D68D1-C532-4FFB-AE6C-142524C1F1E2}" srcOrd="3" destOrd="0" parTransId="{C83BED25-BB78-4354-81A4-CEAC6D2BFB84}" sibTransId="{DAD4556C-8F2F-4281-BC0E-EC84EAEEDFB2}"/>
    <dgm:cxn modelId="{1B0E4C0D-F795-45BD-919E-CF863B41DD63}" srcId="{DB76AA14-E5B2-4CFC-974F-EFFC567EE831}" destId="{C44BC157-68A1-457B-A86B-1AEF95F88A11}" srcOrd="1" destOrd="0" parTransId="{FD349561-495A-40E6-AF2B-67C1886916A6}" sibTransId="{02447B08-38BB-4846-88B1-0090121C0345}"/>
    <dgm:cxn modelId="{C872930D-569C-4FD3-9124-FCAE0C2A4EC3}" type="presOf" srcId="{7FC1CE24-4EC6-4960-9F8B-E6EC820FEAC8}" destId="{DED9660D-0395-4FC5-BBCB-BC812791744A}" srcOrd="0" destOrd="0" presId="urn:microsoft.com/office/officeart/2005/8/layout/orgChart1"/>
    <dgm:cxn modelId="{5C0EE710-7D6B-4AAD-A10B-13A3BD606744}" type="presOf" srcId="{CEA0EBAC-3EE6-4205-AC60-428A6EF03280}" destId="{93154324-0028-4A1E-9002-C3E362D99081}" srcOrd="0" destOrd="0" presId="urn:microsoft.com/office/officeart/2005/8/layout/orgChart1"/>
    <dgm:cxn modelId="{314F4712-C4E5-4462-94A4-26A01BB13EE1}" type="presOf" srcId="{FF26A060-8243-4367-9A0C-77BA1B16E2DF}" destId="{289BBB8F-E078-4C7A-B432-C635828DDC88}" srcOrd="1" destOrd="0" presId="urn:microsoft.com/office/officeart/2005/8/layout/orgChart1"/>
    <dgm:cxn modelId="{7D7CF114-64F5-4FC3-992D-3E520E029344}" type="presOf" srcId="{2C0D68D1-C532-4FFB-AE6C-142524C1F1E2}" destId="{16DEB4A1-1ED9-4484-861C-8886C78497D9}" srcOrd="1" destOrd="0" presId="urn:microsoft.com/office/officeart/2005/8/layout/orgChart1"/>
    <dgm:cxn modelId="{20D12F17-FDDA-4949-B836-FF69D09890D0}" type="presOf" srcId="{DB76AA14-E5B2-4CFC-974F-EFFC567EE831}" destId="{740A0395-7F98-4F78-8A0F-924FC0C856A0}" srcOrd="0" destOrd="0" presId="urn:microsoft.com/office/officeart/2005/8/layout/orgChart1"/>
    <dgm:cxn modelId="{C8B8A61F-E7D4-40D9-B54D-03E3296CDA96}" srcId="{E3558EDB-A409-4234-B712-47181D6C04A8}" destId="{956116BC-AD33-492D-8158-77480629DA10}" srcOrd="1" destOrd="0" parTransId="{818ACCA4-4253-4A2A-A973-DF5D80E78812}" sibTransId="{FF04CE09-9F8D-4D03-9E23-E437D8071FB0}"/>
    <dgm:cxn modelId="{D8343D24-97DC-438B-A591-5520C045ED73}" type="presOf" srcId="{6F96D57B-443C-4194-A5AF-0F96456D730F}" destId="{768DBA47-07C9-4389-8AE8-9AE78EA0AB6A}" srcOrd="1" destOrd="0" presId="urn:microsoft.com/office/officeart/2005/8/layout/orgChart1"/>
    <dgm:cxn modelId="{C4B46D29-354D-8F43-818F-46F13765915F}" srcId="{DB76AA14-E5B2-4CFC-974F-EFFC567EE831}" destId="{2681ECC1-F152-0641-B176-5AF210158920}" srcOrd="2" destOrd="0" parTransId="{5525408B-D037-B54F-A5A6-9FBE09B88E3E}" sibTransId="{11F5F2A4-F3DB-C041-87D6-0F51E29EE8E7}"/>
    <dgm:cxn modelId="{7363B030-3B68-4AA7-96C6-75BC08781C89}" type="presOf" srcId="{2B59A82A-AF93-4F32-9A2E-B69861EEDEF1}" destId="{72E15475-8752-4769-855C-87F4EA764754}" srcOrd="0" destOrd="0" presId="urn:microsoft.com/office/officeart/2005/8/layout/orgChart1"/>
    <dgm:cxn modelId="{D60CBA31-37BB-47D7-B64A-E7C022F681BF}" type="presOf" srcId="{818ACCA4-4253-4A2A-A973-DF5D80E78812}" destId="{BFEB5884-399E-4BAF-88B1-9935B8377AA3}" srcOrd="0" destOrd="0" presId="urn:microsoft.com/office/officeart/2005/8/layout/orgChart1"/>
    <dgm:cxn modelId="{2E5FA434-B5D6-45F4-BA53-E39193BB7AB8}" type="presOf" srcId="{BECF7965-50B3-40FF-979A-00C381C74464}" destId="{4D55E7B3-F2F0-468D-B248-5EF615E671CE}" srcOrd="0" destOrd="0" presId="urn:microsoft.com/office/officeart/2005/8/layout/orgChart1"/>
    <dgm:cxn modelId="{D6C69936-18BD-A840-A461-E07976A6A504}" srcId="{C44BC157-68A1-457B-A86B-1AEF95F88A11}" destId="{F1F930CA-8118-AF43-869C-A9BDC5BECD98}" srcOrd="0" destOrd="0" parTransId="{EA0ED266-5C43-D644-95AB-380291109CCC}" sibTransId="{272CF4BA-91B5-5140-9A6D-61B58E3386E4}"/>
    <dgm:cxn modelId="{03205E3B-7409-45E8-A6AE-C4086346594E}" type="presOf" srcId="{E3558EDB-A409-4234-B712-47181D6C04A8}" destId="{C3C88954-460C-4D23-8188-700F35E0686B}" srcOrd="1" destOrd="0" presId="urn:microsoft.com/office/officeart/2005/8/layout/orgChart1"/>
    <dgm:cxn modelId="{7525D73B-5AD5-45EF-8946-5772F57D79F9}" type="presOf" srcId="{7B348C97-DB76-47D9-9C14-1339A22F739F}" destId="{1B957AD6-2155-43A8-94BF-4FC68D7116F8}" srcOrd="0" destOrd="0" presId="urn:microsoft.com/office/officeart/2005/8/layout/orgChart1"/>
    <dgm:cxn modelId="{ED62CC5C-1F54-434A-81B7-83B4D4E360A1}" type="presOf" srcId="{41F02695-4217-4AAC-AAF0-6FF1769AEDB5}" destId="{233F3197-23CD-4A77-8FD4-15A096D36004}" srcOrd="1" destOrd="0" presId="urn:microsoft.com/office/officeart/2005/8/layout/orgChart1"/>
    <dgm:cxn modelId="{0C51A741-723B-4CB4-BA54-AE99DA1DC7EF}" type="presOf" srcId="{DF8A79B0-C0DD-46DC-8C6E-0D3E08902466}" destId="{55221607-F312-4178-BDC3-F813059C60D1}" srcOrd="0" destOrd="0" presId="urn:microsoft.com/office/officeart/2005/8/layout/orgChart1"/>
    <dgm:cxn modelId="{02731F65-DE23-4968-BF7E-86F5A9FABE70}" srcId="{E3558EDB-A409-4234-B712-47181D6C04A8}" destId="{DB76AA14-E5B2-4CFC-974F-EFFC567EE831}" srcOrd="0" destOrd="0" parTransId="{A05CC44B-7942-4174-8BDE-291C76BA7AF9}" sibTransId="{56DF4224-DB39-46E4-BBF3-CA8BAA15D319}"/>
    <dgm:cxn modelId="{B385B868-34CA-4C72-B25E-E6A89261EC2E}" type="presOf" srcId="{F1F930CA-8118-AF43-869C-A9BDC5BECD98}" destId="{DED054E8-2FF4-4D46-BC32-1BC8E4D1544C}" srcOrd="0" destOrd="0" presId="urn:microsoft.com/office/officeart/2005/8/layout/orgChart1"/>
    <dgm:cxn modelId="{C9A63D69-5C85-4636-837F-F5BCEAF2D246}" type="presOf" srcId="{C83BED25-BB78-4354-81A4-CEAC6D2BFB84}" destId="{652DBFA5-D85D-49E1-A320-5381460A4B58}" srcOrd="0" destOrd="0" presId="urn:microsoft.com/office/officeart/2005/8/layout/orgChart1"/>
    <dgm:cxn modelId="{E2E85E6A-0D48-46F3-800B-2EB4331D2BAE}" type="presOf" srcId="{2681ECC1-F152-0641-B176-5AF210158920}" destId="{0266DF4B-8A06-484A-9C29-D264EC6ACD3E}" srcOrd="1" destOrd="0" presId="urn:microsoft.com/office/officeart/2005/8/layout/orgChart1"/>
    <dgm:cxn modelId="{8A20396B-BE31-4627-82C5-35B0647BAD8E}" type="presOf" srcId="{A05CC44B-7942-4174-8BDE-291C76BA7AF9}" destId="{ECF7AC4B-E38D-4943-B197-2D7758048DD6}" srcOrd="0" destOrd="0" presId="urn:microsoft.com/office/officeart/2005/8/layout/orgChart1"/>
    <dgm:cxn modelId="{0EFCB46C-0283-4DE0-AC3B-42FA1E4BDE31}" srcId="{956116BC-AD33-492D-8158-77480629DA10}" destId="{6F96D57B-443C-4194-A5AF-0F96456D730F}" srcOrd="2" destOrd="0" parTransId="{243D1B98-964A-40A6-9B92-70ADF21BE95D}" sibTransId="{4488A0CD-58C8-47FF-954F-2359A0DCCEE2}"/>
    <dgm:cxn modelId="{79096A4D-690D-40A0-8D35-1D68FC4199E2}" type="presOf" srcId="{B18AF205-772B-4FB3-A5B7-84EC84666A27}" destId="{C4284D33-2ED4-4086-BC8E-4851EED6B7F7}" srcOrd="1" destOrd="0" presId="urn:microsoft.com/office/officeart/2005/8/layout/orgChart1"/>
    <dgm:cxn modelId="{B0604C6F-084F-4905-92A4-ADADB064F611}" type="presOf" srcId="{E3558EDB-A409-4234-B712-47181D6C04A8}" destId="{16E74C02-AF7A-4EF0-B75C-CA2BC16E5E43}" srcOrd="0" destOrd="0" presId="urn:microsoft.com/office/officeart/2005/8/layout/orgChart1"/>
    <dgm:cxn modelId="{AD08A66F-4B93-4E85-A291-C1A0A64FEF5D}" srcId="{41F02695-4217-4AAC-AAF0-6FF1769AEDB5}" destId="{31C67234-1A76-43E2-9FB7-D9FD0ABC1C56}" srcOrd="0" destOrd="0" parTransId="{2B59A82A-AF93-4F32-9A2E-B69861EEDEF1}" sibTransId="{9589CD4C-AAAB-430A-802B-A3529BE1AE54}"/>
    <dgm:cxn modelId="{9567C150-379B-49AD-BE42-69B6B5EDCCE9}" type="presOf" srcId="{F24EB55B-81A4-4423-A532-076CD7ED8D30}" destId="{067640AB-CD5B-414A-B7F5-43076629ACB7}" srcOrd="0" destOrd="0" presId="urn:microsoft.com/office/officeart/2005/8/layout/orgChart1"/>
    <dgm:cxn modelId="{F898D458-460C-479D-A6D7-10F69DF20AD0}" srcId="{2C0D68D1-C532-4FFB-AE6C-142524C1F1E2}" destId="{F28BA191-B398-4E7D-A4FB-97079DB04B70}" srcOrd="0" destOrd="0" parTransId="{7FC1CE24-4EC6-4960-9F8B-E6EC820FEAC8}" sibTransId="{B6511C9E-5214-4232-A0D9-7FBE8C1AB2BC}"/>
    <dgm:cxn modelId="{83F28E7C-1CE9-4D4D-8F48-417EBFAD3A61}" srcId="{6F96D57B-443C-4194-A5AF-0F96456D730F}" destId="{F24EB55B-81A4-4423-A532-076CD7ED8D30}" srcOrd="0" destOrd="0" parTransId="{BECF7965-50B3-40FF-979A-00C381C74464}" sibTransId="{9CF67999-7C8F-474B-9960-80B86C0C96DB}"/>
    <dgm:cxn modelId="{0075AA7C-9F03-4987-A6C2-495151D2D87F}" type="presOf" srcId="{2681ECC1-F152-0641-B176-5AF210158920}" destId="{34DC2A82-AF89-3B45-BB5B-7CDC3B227F53}" srcOrd="0" destOrd="0" presId="urn:microsoft.com/office/officeart/2005/8/layout/orgChart1"/>
    <dgm:cxn modelId="{D214677F-7629-4340-83BB-CC868B510D5E}" type="presOf" srcId="{226B3E15-D058-4A38-BBF4-ECF5AFDE0DB3}" destId="{B429C682-7C7F-4578-B438-94ABC4FFC712}" srcOrd="0" destOrd="0" presId="urn:microsoft.com/office/officeart/2005/8/layout/orgChart1"/>
    <dgm:cxn modelId="{75520387-6463-44BB-9EFB-97F699CEB4A0}" srcId="{DB76AA14-E5B2-4CFC-974F-EFFC567EE831}" destId="{7B348C97-DB76-47D9-9C14-1339A22F739F}" srcOrd="4" destOrd="0" parTransId="{D65B7B75-7386-4289-B0AE-9476A56CC675}" sibTransId="{C6A215FE-F6C3-4486-81BB-93D432CB0D7A}"/>
    <dgm:cxn modelId="{1B696987-A7E7-4AD9-98C9-9F8E8D95E2B0}" type="presOf" srcId="{5525408B-D037-B54F-A5A6-9FBE09B88E3E}" destId="{DF07CE45-9876-8841-9DD8-C723176A8295}" srcOrd="0" destOrd="0" presId="urn:microsoft.com/office/officeart/2005/8/layout/orgChart1"/>
    <dgm:cxn modelId="{ADF0C487-5DD8-438B-9EAD-057FF2D904FB}" type="presOf" srcId="{F28BA191-B398-4E7D-A4FB-97079DB04B70}" destId="{7237C824-0C7D-4D1B-8925-8C842F45D3D6}" srcOrd="0" destOrd="0" presId="urn:microsoft.com/office/officeart/2005/8/layout/orgChart1"/>
    <dgm:cxn modelId="{6ECEA991-B556-4D13-AEE9-C00763B2B4C0}" type="presOf" srcId="{6F96D57B-443C-4194-A5AF-0F96456D730F}" destId="{E5E37977-981F-4DB2-ACCB-205F955D3CA6}" srcOrd="0" destOrd="0" presId="urn:microsoft.com/office/officeart/2005/8/layout/orgChart1"/>
    <dgm:cxn modelId="{B01A0692-73AB-4617-8595-7EC347C58713}" type="presOf" srcId="{EDD360EC-D1ED-485C-A858-ECAC8656CD3D}" destId="{FA45CC3A-0B78-4849-B05D-CE79CF0C1744}" srcOrd="0" destOrd="0" presId="urn:microsoft.com/office/officeart/2005/8/layout/orgChart1"/>
    <dgm:cxn modelId="{ABBD359B-D1B7-40EA-84B5-3D726EE58FA1}" type="presOf" srcId="{41F02695-4217-4AAC-AAF0-6FF1769AEDB5}" destId="{9AF6A88F-EE94-4477-A56D-AED8092ED27F}" srcOrd="0" destOrd="0" presId="urn:microsoft.com/office/officeart/2005/8/layout/orgChart1"/>
    <dgm:cxn modelId="{0105849B-C0FE-49D5-8E42-A91E0CBF41D0}" type="presOf" srcId="{6949D86A-E66F-4398-BE1D-E1ABD33E66E3}" destId="{C1AD6210-5E5A-4210-8A98-21BD0A2505D9}" srcOrd="1" destOrd="0" presId="urn:microsoft.com/office/officeart/2005/8/layout/orgChart1"/>
    <dgm:cxn modelId="{7FA5FD9B-F65A-47F5-8737-E31D5A3F8601}" type="presOf" srcId="{D8061349-1F76-4A0E-A43A-9415FE48506E}" destId="{9145F37F-1F27-48BF-B05A-94CAADC16869}" srcOrd="0" destOrd="0" presId="urn:microsoft.com/office/officeart/2005/8/layout/orgChart1"/>
    <dgm:cxn modelId="{C30E2B9E-699E-41A2-80ED-D73030E6F8F0}" type="presOf" srcId="{DB76AA14-E5B2-4CFC-974F-EFFC567EE831}" destId="{2D3B2316-817B-4D3A-B115-62258909F03E}" srcOrd="1" destOrd="0" presId="urn:microsoft.com/office/officeart/2005/8/layout/orgChart1"/>
    <dgm:cxn modelId="{C1F3729F-A4DA-4EAE-9895-F3C09888C901}" type="presOf" srcId="{91553C7E-A73C-48AD-AB5C-ABFF0A6F9924}" destId="{170C4C38-5A37-436D-B645-DF84E12AB9E3}" srcOrd="0" destOrd="0" presId="urn:microsoft.com/office/officeart/2005/8/layout/orgChart1"/>
    <dgm:cxn modelId="{55A0C29F-6284-435E-B569-EBED56219560}" srcId="{1B054DD5-DB8E-4E61-8A14-358893CEFA39}" destId="{B18AF205-772B-4FB3-A5B7-84EC84666A27}" srcOrd="0" destOrd="0" parTransId="{CEA0EBAC-3EE6-4205-AC60-428A6EF03280}" sibTransId="{AA0F2613-2063-4A24-87E5-C256C079AA49}"/>
    <dgm:cxn modelId="{9F59D5A0-6AF4-434D-BF2E-4C13E08A6697}" srcId="{2681ECC1-F152-0641-B176-5AF210158920}" destId="{6949D86A-E66F-4398-BE1D-E1ABD33E66E3}" srcOrd="0" destOrd="0" parTransId="{DF8A79B0-C0DD-46DC-8C6E-0D3E08902466}" sibTransId="{C4999E49-B3BB-40FD-B5AB-A6ECE80CBFFB}"/>
    <dgm:cxn modelId="{A4D6CBA4-D2F2-433C-AADD-8133A8DDC005}" type="presOf" srcId="{B18AF205-772B-4FB3-A5B7-84EC84666A27}" destId="{D5BD4555-9442-4405-BDF8-B05DE1D5B039}" srcOrd="0" destOrd="0" presId="urn:microsoft.com/office/officeart/2005/8/layout/orgChart1"/>
    <dgm:cxn modelId="{26C4E2A9-2CA1-451C-BF03-3B4F066105E1}" type="presOf" srcId="{FA543858-E6BF-4124-8F31-C66861ED1941}" destId="{D26B73D7-7624-4C27-9D91-6F1FA61FD154}" srcOrd="0" destOrd="0" presId="urn:microsoft.com/office/officeart/2005/8/layout/orgChart1"/>
    <dgm:cxn modelId="{9CA41EAF-72DA-4EC0-988A-5C63B318F8DA}" srcId="{226B3E15-D058-4A38-BBF4-ECF5AFDE0DB3}" destId="{E3558EDB-A409-4234-B712-47181D6C04A8}" srcOrd="0" destOrd="0" parTransId="{690B31F4-CA50-4089-B8CB-BD125BB00997}" sibTransId="{0703A4AC-5F94-4835-8CEF-FB9625DE9CDF}"/>
    <dgm:cxn modelId="{6CE927B2-9022-4243-AA45-C5330DA401CC}" type="presOf" srcId="{C44BC157-68A1-457B-A86B-1AEF95F88A11}" destId="{DB0DCD1F-2A23-4996-8D9D-639CFFA4D79C}" srcOrd="1" destOrd="0" presId="urn:microsoft.com/office/officeart/2005/8/layout/orgChart1"/>
    <dgm:cxn modelId="{2B3E7AB3-079E-44A5-BA86-E0DA22459B46}" type="presOf" srcId="{956116BC-AD33-492D-8158-77480629DA10}" destId="{322F81B2-A85C-499F-8E41-EA05CFC4C47B}" srcOrd="1" destOrd="0" presId="urn:microsoft.com/office/officeart/2005/8/layout/orgChart1"/>
    <dgm:cxn modelId="{828597B3-84EE-4ADF-B144-875C660CAE28}" type="presOf" srcId="{D65B7B75-7386-4289-B0AE-9476A56CC675}" destId="{FF84EBDA-CA1C-4C72-94B1-C1E54782F48F}" srcOrd="0" destOrd="0" presId="urn:microsoft.com/office/officeart/2005/8/layout/orgChart1"/>
    <dgm:cxn modelId="{F37A08B4-A82E-45DB-885D-050B03768BF2}" type="presOf" srcId="{956116BC-AD33-492D-8158-77480629DA10}" destId="{CBC52E5B-5592-4BC4-AF93-0EF2DB42F23E}" srcOrd="0" destOrd="0" presId="urn:microsoft.com/office/officeart/2005/8/layout/orgChart1"/>
    <dgm:cxn modelId="{4602B0C3-E0C3-4BCF-966A-9C32F7FF51FE}" type="presOf" srcId="{2C0D68D1-C532-4FFB-AE6C-142524C1F1E2}" destId="{8D5D4524-3F0A-40B5-9B1B-0484120DD831}" srcOrd="0" destOrd="0" presId="urn:microsoft.com/office/officeart/2005/8/layout/orgChart1"/>
    <dgm:cxn modelId="{0E2AB8C3-48A8-4C7B-9629-6490A12D53AF}" type="presOf" srcId="{FF26A060-8243-4367-9A0C-77BA1B16E2DF}" destId="{436F774E-2ABF-42CC-9C62-509D18A7EF7A}" srcOrd="0" destOrd="0" presId="urn:microsoft.com/office/officeart/2005/8/layout/orgChart1"/>
    <dgm:cxn modelId="{474313C5-B9B5-4331-A8B5-310E82C35E4C}" type="presOf" srcId="{1B054DD5-DB8E-4E61-8A14-358893CEFA39}" destId="{245314D3-2E18-41DE-A75A-52EC4A865FFF}" srcOrd="1" destOrd="0" presId="urn:microsoft.com/office/officeart/2005/8/layout/orgChart1"/>
    <dgm:cxn modelId="{89B3B8C6-2B20-41B2-A0C3-DC6B8AD5FF60}" srcId="{7B348C97-DB76-47D9-9C14-1339A22F739F}" destId="{0F79D3A9-EC2A-4F1F-AF55-1C24C1FDB416}" srcOrd="0" destOrd="0" parTransId="{84CF41D8-CD17-4E3A-8E10-2DB2129F9244}" sibTransId="{58A25705-8D15-49CE-B5AA-8C60AE1EC8A4}"/>
    <dgm:cxn modelId="{438D67C8-B567-4409-B26C-61354E658AEE}" type="presOf" srcId="{A4A926A3-67B2-46E6-9689-4320D07AF91D}" destId="{9C59D5E5-D4B1-4F3C-8491-10B400DD41DB}" srcOrd="0" destOrd="0" presId="urn:microsoft.com/office/officeart/2005/8/layout/orgChart1"/>
    <dgm:cxn modelId="{1212DDCB-2547-4CF8-B728-3E061C394DE4}" type="presOf" srcId="{EA0ED266-5C43-D644-95AB-380291109CCC}" destId="{B24F350B-01C1-EC4E-BC80-2B8869BADF6E}" srcOrd="0" destOrd="0" presId="urn:microsoft.com/office/officeart/2005/8/layout/orgChart1"/>
    <dgm:cxn modelId="{BA271CCC-7B24-4103-8D47-3431359D8489}" srcId="{DB76AA14-E5B2-4CFC-974F-EFFC567EE831}" destId="{FF26A060-8243-4367-9A0C-77BA1B16E2DF}" srcOrd="0" destOrd="0" parTransId="{EDD360EC-D1ED-485C-A858-ECAC8656CD3D}" sibTransId="{2034905F-5790-44CD-B20D-65C161400D61}"/>
    <dgm:cxn modelId="{1D4CF7CC-67F0-4DCE-9732-206B53C8B448}" type="presOf" srcId="{7B348C97-DB76-47D9-9C14-1339A22F739F}" destId="{4E1F449B-E2B0-4D6D-B754-026F37EE205B}" srcOrd="1" destOrd="0" presId="urn:microsoft.com/office/officeart/2005/8/layout/orgChart1"/>
    <dgm:cxn modelId="{FC6854CF-1A36-45C2-A88E-63EC62E5A0AE}" srcId="{956116BC-AD33-492D-8158-77480629DA10}" destId="{41F02695-4217-4AAC-AAF0-6FF1769AEDB5}" srcOrd="0" destOrd="0" parTransId="{D8061349-1F76-4A0E-A43A-9415FE48506E}" sibTransId="{C2EC0F1B-DF17-40F5-A0C9-E54417DBC2BC}"/>
    <dgm:cxn modelId="{9AC672D7-218C-4174-83C6-33286D5B3411}" srcId="{FF26A060-8243-4367-9A0C-77BA1B16E2DF}" destId="{91553C7E-A73C-48AD-AB5C-ABFF0A6F9924}" srcOrd="0" destOrd="0" parTransId="{A4A926A3-67B2-46E6-9689-4320D07AF91D}" sibTransId="{6FBA2956-8A1B-4E47-8FBB-5ECC757DAE45}"/>
    <dgm:cxn modelId="{280A0ED9-4266-4511-9795-0BB23FB56A0C}" type="presOf" srcId="{0F79D3A9-EC2A-4F1F-AF55-1C24C1FDB416}" destId="{556DD0C6-F30C-4EFB-9CB7-1FB10B37C27D}" srcOrd="1" destOrd="0" presId="urn:microsoft.com/office/officeart/2005/8/layout/orgChart1"/>
    <dgm:cxn modelId="{EC7224D9-83BB-45DA-A839-335368C6EE29}" type="presOf" srcId="{1B054DD5-DB8E-4E61-8A14-358893CEFA39}" destId="{2E9C83DA-49D1-4608-96BB-CFEA977C1097}" srcOrd="0" destOrd="0" presId="urn:microsoft.com/office/officeart/2005/8/layout/orgChart1"/>
    <dgm:cxn modelId="{BE2815DE-7C03-4B07-BC6D-733640034303}" type="presOf" srcId="{0F79D3A9-EC2A-4F1F-AF55-1C24C1FDB416}" destId="{1ED56033-F883-4E3A-A4A8-4DAD05579003}" srcOrd="0" destOrd="0" presId="urn:microsoft.com/office/officeart/2005/8/layout/orgChart1"/>
    <dgm:cxn modelId="{FE2B21DF-633B-4335-A7C4-68C86A040035}" srcId="{956116BC-AD33-492D-8158-77480629DA10}" destId="{1B054DD5-DB8E-4E61-8A14-358893CEFA39}" srcOrd="1" destOrd="0" parTransId="{FA543858-E6BF-4124-8F31-C66861ED1941}" sibTransId="{E5C164DA-6A89-438A-9EC8-86F9AE943CFA}"/>
    <dgm:cxn modelId="{2F86A2E0-13AE-413D-8D93-69F1E505E7E0}" type="presOf" srcId="{F24EB55B-81A4-4423-A532-076CD7ED8D30}" destId="{EC7FAA3E-CA74-473E-A662-C8FEE7242728}" srcOrd="1" destOrd="0" presId="urn:microsoft.com/office/officeart/2005/8/layout/orgChart1"/>
    <dgm:cxn modelId="{94E748E4-BD1E-411D-8382-062189846A3C}" type="presOf" srcId="{C44BC157-68A1-457B-A86B-1AEF95F88A11}" destId="{BAAE7E9F-74A4-40DE-9B5A-87865BBFEA70}" srcOrd="0" destOrd="0" presId="urn:microsoft.com/office/officeart/2005/8/layout/orgChart1"/>
    <dgm:cxn modelId="{5CD8ABE4-0F74-4C52-A9E6-4203AF08B033}" type="presOf" srcId="{84CF41D8-CD17-4E3A-8E10-2DB2129F9244}" destId="{1F8E3A24-9FC1-442A-9B8B-C56AFEBC2BA6}" srcOrd="0" destOrd="0" presId="urn:microsoft.com/office/officeart/2005/8/layout/orgChart1"/>
    <dgm:cxn modelId="{1B8429E9-BA1B-495F-8388-DA20F7C1A175}" type="presOf" srcId="{31C67234-1A76-43E2-9FB7-D9FD0ABC1C56}" destId="{90AF18D2-3CE1-438D-8409-414FDC7350A1}" srcOrd="0" destOrd="0" presId="urn:microsoft.com/office/officeart/2005/8/layout/orgChart1"/>
    <dgm:cxn modelId="{464FE9EF-B558-49EC-8D38-A0A13385DFBE}" type="presOf" srcId="{F1F930CA-8118-AF43-869C-A9BDC5BECD98}" destId="{1661A546-6595-B242-9527-C6D672A02D5B}" srcOrd="1" destOrd="0" presId="urn:microsoft.com/office/officeart/2005/8/layout/orgChart1"/>
    <dgm:cxn modelId="{31DADFF2-0AB9-4537-9175-C9EC703A8672}" type="presOf" srcId="{F28BA191-B398-4E7D-A4FB-97079DB04B70}" destId="{79452AEF-E5B1-44BA-AF38-C6FCC2D6FA3A}" srcOrd="1" destOrd="0" presId="urn:microsoft.com/office/officeart/2005/8/layout/orgChart1"/>
    <dgm:cxn modelId="{61F480F3-04A1-4F7E-B42D-C3C09267E41C}" type="presOf" srcId="{FD349561-495A-40E6-AF2B-67C1886916A6}" destId="{BA1EDB5A-ED17-4BCF-89E2-70C1888B4397}" srcOrd="0" destOrd="0" presId="urn:microsoft.com/office/officeart/2005/8/layout/orgChart1"/>
    <dgm:cxn modelId="{8DDF3CF8-682B-42C2-B943-623C2BB55727}" type="presOf" srcId="{243D1B98-964A-40A6-9B92-70ADF21BE95D}" destId="{BDEB7EDB-EF68-4D15-8AF0-275FA5280617}" srcOrd="0" destOrd="0" presId="urn:microsoft.com/office/officeart/2005/8/layout/orgChart1"/>
    <dgm:cxn modelId="{61EA61C6-8149-4651-B6EB-A354195342A0}" type="presParOf" srcId="{B429C682-7C7F-4578-B438-94ABC4FFC712}" destId="{EA1A4C1D-F3DE-4D62-8170-DC7E0FB58E66}" srcOrd="0" destOrd="0" presId="urn:microsoft.com/office/officeart/2005/8/layout/orgChart1"/>
    <dgm:cxn modelId="{01DEA4E8-D269-4DF4-8CE3-B504A438E462}" type="presParOf" srcId="{EA1A4C1D-F3DE-4D62-8170-DC7E0FB58E66}" destId="{3A4FD830-F97A-4071-A734-89B29F94CAE6}" srcOrd="0" destOrd="0" presId="urn:microsoft.com/office/officeart/2005/8/layout/orgChart1"/>
    <dgm:cxn modelId="{B8F0BC29-D17B-414D-BF87-0A0F7B703533}" type="presParOf" srcId="{3A4FD830-F97A-4071-A734-89B29F94CAE6}" destId="{16E74C02-AF7A-4EF0-B75C-CA2BC16E5E43}" srcOrd="0" destOrd="0" presId="urn:microsoft.com/office/officeart/2005/8/layout/orgChart1"/>
    <dgm:cxn modelId="{624199AF-9D90-4FCE-BC06-BDA70BC08BF8}" type="presParOf" srcId="{3A4FD830-F97A-4071-A734-89B29F94CAE6}" destId="{C3C88954-460C-4D23-8188-700F35E0686B}" srcOrd="1" destOrd="0" presId="urn:microsoft.com/office/officeart/2005/8/layout/orgChart1"/>
    <dgm:cxn modelId="{DB7D4993-E396-4A53-8522-95AF6418A996}" type="presParOf" srcId="{EA1A4C1D-F3DE-4D62-8170-DC7E0FB58E66}" destId="{49471786-D6E8-45DA-9BA5-10216F1D73F9}" srcOrd="1" destOrd="0" presId="urn:microsoft.com/office/officeart/2005/8/layout/orgChart1"/>
    <dgm:cxn modelId="{7B7206C4-61BF-4BD4-993F-831A6B529851}" type="presParOf" srcId="{49471786-D6E8-45DA-9BA5-10216F1D73F9}" destId="{ECF7AC4B-E38D-4943-B197-2D7758048DD6}" srcOrd="0" destOrd="0" presId="urn:microsoft.com/office/officeart/2005/8/layout/orgChart1"/>
    <dgm:cxn modelId="{BF62D02C-9AC4-46BD-96AD-A07AFD73F6C5}" type="presParOf" srcId="{49471786-D6E8-45DA-9BA5-10216F1D73F9}" destId="{F603805C-AB93-4FC2-BD03-DA7ECE207DC9}" srcOrd="1" destOrd="0" presId="urn:microsoft.com/office/officeart/2005/8/layout/orgChart1"/>
    <dgm:cxn modelId="{3F8C3CF2-290C-4AE0-AA51-6BE3B065BEE4}" type="presParOf" srcId="{F603805C-AB93-4FC2-BD03-DA7ECE207DC9}" destId="{89CBA1BD-4151-4A08-84F4-D482F9A6C269}" srcOrd="0" destOrd="0" presId="urn:microsoft.com/office/officeart/2005/8/layout/orgChart1"/>
    <dgm:cxn modelId="{AFE0446C-9BA0-4C37-9011-1810914C534C}" type="presParOf" srcId="{89CBA1BD-4151-4A08-84F4-D482F9A6C269}" destId="{740A0395-7F98-4F78-8A0F-924FC0C856A0}" srcOrd="0" destOrd="0" presId="urn:microsoft.com/office/officeart/2005/8/layout/orgChart1"/>
    <dgm:cxn modelId="{697CF4BA-A865-4191-B94C-9BFCE499A219}" type="presParOf" srcId="{89CBA1BD-4151-4A08-84F4-D482F9A6C269}" destId="{2D3B2316-817B-4D3A-B115-62258909F03E}" srcOrd="1" destOrd="0" presId="urn:microsoft.com/office/officeart/2005/8/layout/orgChart1"/>
    <dgm:cxn modelId="{A801DCC8-52DA-453C-B976-21E6D2C3FD82}" type="presParOf" srcId="{F603805C-AB93-4FC2-BD03-DA7ECE207DC9}" destId="{E7F64C89-4FBA-46AD-8EA2-9716A6965D1F}" srcOrd="1" destOrd="0" presId="urn:microsoft.com/office/officeart/2005/8/layout/orgChart1"/>
    <dgm:cxn modelId="{AE210A58-A00A-4259-9C53-80160DB5E150}" type="presParOf" srcId="{E7F64C89-4FBA-46AD-8EA2-9716A6965D1F}" destId="{FA45CC3A-0B78-4849-B05D-CE79CF0C1744}" srcOrd="0" destOrd="0" presId="urn:microsoft.com/office/officeart/2005/8/layout/orgChart1"/>
    <dgm:cxn modelId="{25251C23-E412-4128-A2C1-351DB334218E}" type="presParOf" srcId="{E7F64C89-4FBA-46AD-8EA2-9716A6965D1F}" destId="{1A0B0D43-A13C-4135-962E-18E90AFE0F8E}" srcOrd="1" destOrd="0" presId="urn:microsoft.com/office/officeart/2005/8/layout/orgChart1"/>
    <dgm:cxn modelId="{34E17EA7-D38F-4555-AAA1-EA43E12C623F}" type="presParOf" srcId="{1A0B0D43-A13C-4135-962E-18E90AFE0F8E}" destId="{DA2AC2B8-63D8-4C8E-8FE2-C6632F66BEEF}" srcOrd="0" destOrd="0" presId="urn:microsoft.com/office/officeart/2005/8/layout/orgChart1"/>
    <dgm:cxn modelId="{69822ECD-FD2B-4992-B6C5-2D1707DC0F22}" type="presParOf" srcId="{DA2AC2B8-63D8-4C8E-8FE2-C6632F66BEEF}" destId="{436F774E-2ABF-42CC-9C62-509D18A7EF7A}" srcOrd="0" destOrd="0" presId="urn:microsoft.com/office/officeart/2005/8/layout/orgChart1"/>
    <dgm:cxn modelId="{04EBE728-B0F5-4EBC-91CB-3CA472ACEC9D}" type="presParOf" srcId="{DA2AC2B8-63D8-4C8E-8FE2-C6632F66BEEF}" destId="{289BBB8F-E078-4C7A-B432-C635828DDC88}" srcOrd="1" destOrd="0" presId="urn:microsoft.com/office/officeart/2005/8/layout/orgChart1"/>
    <dgm:cxn modelId="{7DFDD7E3-9CED-47B1-8C14-27CF9AC670F1}" type="presParOf" srcId="{1A0B0D43-A13C-4135-962E-18E90AFE0F8E}" destId="{DD23F903-3EC8-4C3B-82C9-36FE4C9E4DBF}" srcOrd="1" destOrd="0" presId="urn:microsoft.com/office/officeart/2005/8/layout/orgChart1"/>
    <dgm:cxn modelId="{2C6166C9-1A98-4811-BEC2-9C65D54D1833}" type="presParOf" srcId="{DD23F903-3EC8-4C3B-82C9-36FE4C9E4DBF}" destId="{9C59D5E5-D4B1-4F3C-8491-10B400DD41DB}" srcOrd="0" destOrd="0" presId="urn:microsoft.com/office/officeart/2005/8/layout/orgChart1"/>
    <dgm:cxn modelId="{42E1BE3A-25A5-4630-8B4E-09DD8391FF20}" type="presParOf" srcId="{DD23F903-3EC8-4C3B-82C9-36FE4C9E4DBF}" destId="{4292F73A-ACF1-483B-A56F-55CF7A83F4D9}" srcOrd="1" destOrd="0" presId="urn:microsoft.com/office/officeart/2005/8/layout/orgChart1"/>
    <dgm:cxn modelId="{57246204-EDE2-4171-BF9A-991BB549E9B7}" type="presParOf" srcId="{4292F73A-ACF1-483B-A56F-55CF7A83F4D9}" destId="{B2ECE3C0-2760-4267-A3B2-3BDD6BED87AF}" srcOrd="0" destOrd="0" presId="urn:microsoft.com/office/officeart/2005/8/layout/orgChart1"/>
    <dgm:cxn modelId="{DB28AABC-FEAA-4CAD-82EB-C30E4240A4BC}" type="presParOf" srcId="{B2ECE3C0-2760-4267-A3B2-3BDD6BED87AF}" destId="{170C4C38-5A37-436D-B645-DF84E12AB9E3}" srcOrd="0" destOrd="0" presId="urn:microsoft.com/office/officeart/2005/8/layout/orgChart1"/>
    <dgm:cxn modelId="{B417E31E-519B-46A1-BDFC-6EB0FB4BE406}" type="presParOf" srcId="{B2ECE3C0-2760-4267-A3B2-3BDD6BED87AF}" destId="{413E6AB8-9811-48BB-924C-7B74A0046C35}" srcOrd="1" destOrd="0" presId="urn:microsoft.com/office/officeart/2005/8/layout/orgChart1"/>
    <dgm:cxn modelId="{B94BA417-4C53-4F26-88B2-F29CBC322FDF}" type="presParOf" srcId="{4292F73A-ACF1-483B-A56F-55CF7A83F4D9}" destId="{6E7F457D-88FC-420E-9FDD-90BDFA9E0234}" srcOrd="1" destOrd="0" presId="urn:microsoft.com/office/officeart/2005/8/layout/orgChart1"/>
    <dgm:cxn modelId="{D889127A-E64B-4524-95ED-76AA4DD51FB2}" type="presParOf" srcId="{4292F73A-ACF1-483B-A56F-55CF7A83F4D9}" destId="{251EC88F-3D80-4922-A11D-972A99EA2617}" srcOrd="2" destOrd="0" presId="urn:microsoft.com/office/officeart/2005/8/layout/orgChart1"/>
    <dgm:cxn modelId="{B968BD6B-0F1E-4B29-825A-509A028CE926}" type="presParOf" srcId="{1A0B0D43-A13C-4135-962E-18E90AFE0F8E}" destId="{3419A17A-395F-4A4F-AD2B-1A722AF5EEC7}" srcOrd="2" destOrd="0" presId="urn:microsoft.com/office/officeart/2005/8/layout/orgChart1"/>
    <dgm:cxn modelId="{A43CDC84-A88E-4074-8446-D36DDB6AB9AF}" type="presParOf" srcId="{E7F64C89-4FBA-46AD-8EA2-9716A6965D1F}" destId="{BA1EDB5A-ED17-4BCF-89E2-70C1888B4397}" srcOrd="2" destOrd="0" presId="urn:microsoft.com/office/officeart/2005/8/layout/orgChart1"/>
    <dgm:cxn modelId="{6B7EB90E-732C-4312-9E12-37731B4579B9}" type="presParOf" srcId="{E7F64C89-4FBA-46AD-8EA2-9716A6965D1F}" destId="{D430CAC4-38D9-4330-A8B0-9939BE08E5D5}" srcOrd="3" destOrd="0" presId="urn:microsoft.com/office/officeart/2005/8/layout/orgChart1"/>
    <dgm:cxn modelId="{338B43D3-4742-4D3F-9E31-A8B1E2ECAFEE}" type="presParOf" srcId="{D430CAC4-38D9-4330-A8B0-9939BE08E5D5}" destId="{4EBC20E9-2647-4EA2-A83D-06B2A91F394B}" srcOrd="0" destOrd="0" presId="urn:microsoft.com/office/officeart/2005/8/layout/orgChart1"/>
    <dgm:cxn modelId="{F2DE21A6-2039-4F07-BB08-906B97729637}" type="presParOf" srcId="{4EBC20E9-2647-4EA2-A83D-06B2A91F394B}" destId="{BAAE7E9F-74A4-40DE-9B5A-87865BBFEA70}" srcOrd="0" destOrd="0" presId="urn:microsoft.com/office/officeart/2005/8/layout/orgChart1"/>
    <dgm:cxn modelId="{DD2DF461-0EA1-471C-A6A9-B9DF019A7CCF}" type="presParOf" srcId="{4EBC20E9-2647-4EA2-A83D-06B2A91F394B}" destId="{DB0DCD1F-2A23-4996-8D9D-639CFFA4D79C}" srcOrd="1" destOrd="0" presId="urn:microsoft.com/office/officeart/2005/8/layout/orgChart1"/>
    <dgm:cxn modelId="{DD3A20D4-2B26-4FED-934D-9E7ABF10B67A}" type="presParOf" srcId="{D430CAC4-38D9-4330-A8B0-9939BE08E5D5}" destId="{3B97277D-4E80-4D09-9A17-78B353D05EB6}" srcOrd="1" destOrd="0" presId="urn:microsoft.com/office/officeart/2005/8/layout/orgChart1"/>
    <dgm:cxn modelId="{A9324A70-7175-4264-9B79-2E587D021328}" type="presParOf" srcId="{3B97277D-4E80-4D09-9A17-78B353D05EB6}" destId="{B24F350B-01C1-EC4E-BC80-2B8869BADF6E}" srcOrd="0" destOrd="0" presId="urn:microsoft.com/office/officeart/2005/8/layout/orgChart1"/>
    <dgm:cxn modelId="{1195E65E-EBD8-4741-9974-E5D6EE1FF8D7}" type="presParOf" srcId="{3B97277D-4E80-4D09-9A17-78B353D05EB6}" destId="{F4C71FFE-C4D0-2945-9D90-A97B4E532031}" srcOrd="1" destOrd="0" presId="urn:microsoft.com/office/officeart/2005/8/layout/orgChart1"/>
    <dgm:cxn modelId="{8C1F9626-60A4-4F02-AA78-742DEB31F435}" type="presParOf" srcId="{F4C71FFE-C4D0-2945-9D90-A97B4E532031}" destId="{20954975-72E9-9347-B088-18DB2878D490}" srcOrd="0" destOrd="0" presId="urn:microsoft.com/office/officeart/2005/8/layout/orgChart1"/>
    <dgm:cxn modelId="{EF447701-6663-4BE8-8071-192B1A1E077D}" type="presParOf" srcId="{20954975-72E9-9347-B088-18DB2878D490}" destId="{DED054E8-2FF4-4D46-BC32-1BC8E4D1544C}" srcOrd="0" destOrd="0" presId="urn:microsoft.com/office/officeart/2005/8/layout/orgChart1"/>
    <dgm:cxn modelId="{30B587C4-0B61-4E94-B8DF-D3A1AE498C63}" type="presParOf" srcId="{20954975-72E9-9347-B088-18DB2878D490}" destId="{1661A546-6595-B242-9527-C6D672A02D5B}" srcOrd="1" destOrd="0" presId="urn:microsoft.com/office/officeart/2005/8/layout/orgChart1"/>
    <dgm:cxn modelId="{63C1B2C2-80D9-492A-B6A2-EA54926C2236}" type="presParOf" srcId="{F4C71FFE-C4D0-2945-9D90-A97B4E532031}" destId="{9626D1DE-1208-5943-BB33-4F1419E76FDF}" srcOrd="1" destOrd="0" presId="urn:microsoft.com/office/officeart/2005/8/layout/orgChart1"/>
    <dgm:cxn modelId="{EF42CDB4-C7B9-492A-82EA-DCD7D065D96F}" type="presParOf" srcId="{F4C71FFE-C4D0-2945-9D90-A97B4E532031}" destId="{3CC75A5F-0E1E-B245-A307-F0654DA106A7}" srcOrd="2" destOrd="0" presId="urn:microsoft.com/office/officeart/2005/8/layout/orgChart1"/>
    <dgm:cxn modelId="{4DD3C21C-BCD3-4C76-A65A-BDE5F0E71AD6}" type="presParOf" srcId="{D430CAC4-38D9-4330-A8B0-9939BE08E5D5}" destId="{C07BAEB0-3122-4548-93F4-BAA39C9572C9}" srcOrd="2" destOrd="0" presId="urn:microsoft.com/office/officeart/2005/8/layout/orgChart1"/>
    <dgm:cxn modelId="{250BCDC2-F71A-4768-B8D8-743C64B3C244}" type="presParOf" srcId="{E7F64C89-4FBA-46AD-8EA2-9716A6965D1F}" destId="{DF07CE45-9876-8841-9DD8-C723176A8295}" srcOrd="4" destOrd="0" presId="urn:microsoft.com/office/officeart/2005/8/layout/orgChart1"/>
    <dgm:cxn modelId="{D4DC36AC-4724-4E92-92DF-A20E4A86ECEE}" type="presParOf" srcId="{E7F64C89-4FBA-46AD-8EA2-9716A6965D1F}" destId="{E6943A48-9714-6945-9F76-E407E2C348CA}" srcOrd="5" destOrd="0" presId="urn:microsoft.com/office/officeart/2005/8/layout/orgChart1"/>
    <dgm:cxn modelId="{12239B1D-0976-484D-B0D8-7BEB946B33B0}" type="presParOf" srcId="{E6943A48-9714-6945-9F76-E407E2C348CA}" destId="{57504B96-820E-4D4B-BDFB-929FA4721B03}" srcOrd="0" destOrd="0" presId="urn:microsoft.com/office/officeart/2005/8/layout/orgChart1"/>
    <dgm:cxn modelId="{E1A518A2-EACF-4F3E-B36D-E2C57A9CBD1A}" type="presParOf" srcId="{57504B96-820E-4D4B-BDFB-929FA4721B03}" destId="{34DC2A82-AF89-3B45-BB5B-7CDC3B227F53}" srcOrd="0" destOrd="0" presId="urn:microsoft.com/office/officeart/2005/8/layout/orgChart1"/>
    <dgm:cxn modelId="{DBBAAB36-3083-4F4B-A262-E1C84007FF80}" type="presParOf" srcId="{57504B96-820E-4D4B-BDFB-929FA4721B03}" destId="{0266DF4B-8A06-484A-9C29-D264EC6ACD3E}" srcOrd="1" destOrd="0" presId="urn:microsoft.com/office/officeart/2005/8/layout/orgChart1"/>
    <dgm:cxn modelId="{12099899-E7AD-48B6-B2DF-4811217D68A2}" type="presParOf" srcId="{E6943A48-9714-6945-9F76-E407E2C348CA}" destId="{CA43819C-D593-8F43-9D10-0AA1D10F843E}" srcOrd="1" destOrd="0" presId="urn:microsoft.com/office/officeart/2005/8/layout/orgChart1"/>
    <dgm:cxn modelId="{EF0842D4-1EA9-48C7-BDE8-413995E53726}" type="presParOf" srcId="{CA43819C-D593-8F43-9D10-0AA1D10F843E}" destId="{55221607-F312-4178-BDC3-F813059C60D1}" srcOrd="0" destOrd="0" presId="urn:microsoft.com/office/officeart/2005/8/layout/orgChart1"/>
    <dgm:cxn modelId="{E0DFEFDC-0966-45F6-939F-1C51D3B50ABB}" type="presParOf" srcId="{CA43819C-D593-8F43-9D10-0AA1D10F843E}" destId="{E454F4B8-583C-45A1-9DFC-E7FF448DED9D}" srcOrd="1" destOrd="0" presId="urn:microsoft.com/office/officeart/2005/8/layout/orgChart1"/>
    <dgm:cxn modelId="{9736EE0F-A204-407A-B9CC-36E3FE144FDD}" type="presParOf" srcId="{E454F4B8-583C-45A1-9DFC-E7FF448DED9D}" destId="{2A13351A-AABA-4FF3-95AF-B4F1B32857A8}" srcOrd="0" destOrd="0" presId="urn:microsoft.com/office/officeart/2005/8/layout/orgChart1"/>
    <dgm:cxn modelId="{DE16744A-B886-4731-8E20-D4EB9AB3C009}" type="presParOf" srcId="{2A13351A-AABA-4FF3-95AF-B4F1B32857A8}" destId="{B888F443-7F53-4AFD-ACF8-774234640E39}" srcOrd="0" destOrd="0" presId="urn:microsoft.com/office/officeart/2005/8/layout/orgChart1"/>
    <dgm:cxn modelId="{2BFAE061-785D-4318-B2CF-3C6AAF45F285}" type="presParOf" srcId="{2A13351A-AABA-4FF3-95AF-B4F1B32857A8}" destId="{C1AD6210-5E5A-4210-8A98-21BD0A2505D9}" srcOrd="1" destOrd="0" presId="urn:microsoft.com/office/officeart/2005/8/layout/orgChart1"/>
    <dgm:cxn modelId="{45C2B198-A54E-44A3-9FE8-1DCAB2B8DB90}" type="presParOf" srcId="{E454F4B8-583C-45A1-9DFC-E7FF448DED9D}" destId="{4A9BFBC2-56C2-4C52-A11D-F47A67BA0E47}" srcOrd="1" destOrd="0" presId="urn:microsoft.com/office/officeart/2005/8/layout/orgChart1"/>
    <dgm:cxn modelId="{95413E6D-A4A7-4786-B4FC-2A5F9A351685}" type="presParOf" srcId="{E454F4B8-583C-45A1-9DFC-E7FF448DED9D}" destId="{3E6D7023-CC0F-4E89-A34E-83AD5BFA9397}" srcOrd="2" destOrd="0" presId="urn:microsoft.com/office/officeart/2005/8/layout/orgChart1"/>
    <dgm:cxn modelId="{B1A314FC-CF6B-43A2-BC31-7FF770D755F3}" type="presParOf" srcId="{E6943A48-9714-6945-9F76-E407E2C348CA}" destId="{D38D41BE-A726-E64B-A30B-C61B18F8AEE0}" srcOrd="2" destOrd="0" presId="urn:microsoft.com/office/officeart/2005/8/layout/orgChart1"/>
    <dgm:cxn modelId="{D2034552-0CB8-4487-A6CE-49E3B90E593B}" type="presParOf" srcId="{E7F64C89-4FBA-46AD-8EA2-9716A6965D1F}" destId="{652DBFA5-D85D-49E1-A320-5381460A4B58}" srcOrd="6" destOrd="0" presId="urn:microsoft.com/office/officeart/2005/8/layout/orgChart1"/>
    <dgm:cxn modelId="{6BEB5BEC-847B-425C-A482-1DC479E1B01F}" type="presParOf" srcId="{E7F64C89-4FBA-46AD-8EA2-9716A6965D1F}" destId="{52E71147-AAD3-42AA-A9DD-18A15A64EA2A}" srcOrd="7" destOrd="0" presId="urn:microsoft.com/office/officeart/2005/8/layout/orgChart1"/>
    <dgm:cxn modelId="{AF89622C-0808-4639-A2D2-967B0D879369}" type="presParOf" srcId="{52E71147-AAD3-42AA-A9DD-18A15A64EA2A}" destId="{F45A607B-65FF-4F62-9C5A-5EEFBF3E4C90}" srcOrd="0" destOrd="0" presId="urn:microsoft.com/office/officeart/2005/8/layout/orgChart1"/>
    <dgm:cxn modelId="{0D86969C-4064-47EB-9338-5844C0FEAEBD}" type="presParOf" srcId="{F45A607B-65FF-4F62-9C5A-5EEFBF3E4C90}" destId="{8D5D4524-3F0A-40B5-9B1B-0484120DD831}" srcOrd="0" destOrd="0" presId="urn:microsoft.com/office/officeart/2005/8/layout/orgChart1"/>
    <dgm:cxn modelId="{CEDF572A-BEAF-4C94-9A59-227AD4BC7A82}" type="presParOf" srcId="{F45A607B-65FF-4F62-9C5A-5EEFBF3E4C90}" destId="{16DEB4A1-1ED9-4484-861C-8886C78497D9}" srcOrd="1" destOrd="0" presId="urn:microsoft.com/office/officeart/2005/8/layout/orgChart1"/>
    <dgm:cxn modelId="{F32962CC-3FC3-426A-BDCB-E0193DF9E083}" type="presParOf" srcId="{52E71147-AAD3-42AA-A9DD-18A15A64EA2A}" destId="{D29F050B-F6BA-49BC-987C-DD7291F0DC70}" srcOrd="1" destOrd="0" presId="urn:microsoft.com/office/officeart/2005/8/layout/orgChart1"/>
    <dgm:cxn modelId="{64B9B909-0FD6-4B8C-A0AC-AD0B081E0774}" type="presParOf" srcId="{D29F050B-F6BA-49BC-987C-DD7291F0DC70}" destId="{DED9660D-0395-4FC5-BBCB-BC812791744A}" srcOrd="0" destOrd="0" presId="urn:microsoft.com/office/officeart/2005/8/layout/orgChart1"/>
    <dgm:cxn modelId="{6097A32B-0629-4604-A244-4DF667F73D55}" type="presParOf" srcId="{D29F050B-F6BA-49BC-987C-DD7291F0DC70}" destId="{B123059F-79DC-435D-8499-7EA8F3125B45}" srcOrd="1" destOrd="0" presId="urn:microsoft.com/office/officeart/2005/8/layout/orgChart1"/>
    <dgm:cxn modelId="{9F7429FC-CA9B-40FC-BE8D-049BE387BB3D}" type="presParOf" srcId="{B123059F-79DC-435D-8499-7EA8F3125B45}" destId="{E162BF3D-1C2D-43D5-877F-6B0BCBA9450A}" srcOrd="0" destOrd="0" presId="urn:microsoft.com/office/officeart/2005/8/layout/orgChart1"/>
    <dgm:cxn modelId="{F5903D0E-A369-466A-93B7-3D26578F3860}" type="presParOf" srcId="{E162BF3D-1C2D-43D5-877F-6B0BCBA9450A}" destId="{7237C824-0C7D-4D1B-8925-8C842F45D3D6}" srcOrd="0" destOrd="0" presId="urn:microsoft.com/office/officeart/2005/8/layout/orgChart1"/>
    <dgm:cxn modelId="{626A5EDB-ECC6-41BB-9398-79365FABC1B2}" type="presParOf" srcId="{E162BF3D-1C2D-43D5-877F-6B0BCBA9450A}" destId="{79452AEF-E5B1-44BA-AF38-C6FCC2D6FA3A}" srcOrd="1" destOrd="0" presId="urn:microsoft.com/office/officeart/2005/8/layout/orgChart1"/>
    <dgm:cxn modelId="{FB45A121-2DB0-482F-AEEC-AEAEF9FA8821}" type="presParOf" srcId="{B123059F-79DC-435D-8499-7EA8F3125B45}" destId="{EFCFA7BD-F40E-4049-B78B-7BC8DB57D8D5}" srcOrd="1" destOrd="0" presId="urn:microsoft.com/office/officeart/2005/8/layout/orgChart1"/>
    <dgm:cxn modelId="{4C42677D-C88E-410A-A269-2A37EAC0BD79}" type="presParOf" srcId="{B123059F-79DC-435D-8499-7EA8F3125B45}" destId="{76292C67-3AF6-4BC1-B457-476654FD1FFE}" srcOrd="2" destOrd="0" presId="urn:microsoft.com/office/officeart/2005/8/layout/orgChart1"/>
    <dgm:cxn modelId="{56FBE8C5-FF57-4D51-9957-F2FE38CC8F38}" type="presParOf" srcId="{52E71147-AAD3-42AA-A9DD-18A15A64EA2A}" destId="{8FE76A4F-520D-4453-9654-38DBACACCBB0}" srcOrd="2" destOrd="0" presId="urn:microsoft.com/office/officeart/2005/8/layout/orgChart1"/>
    <dgm:cxn modelId="{E1053471-8F04-49E6-A872-DC751FBDE04F}" type="presParOf" srcId="{E7F64C89-4FBA-46AD-8EA2-9716A6965D1F}" destId="{FF84EBDA-CA1C-4C72-94B1-C1E54782F48F}" srcOrd="8" destOrd="0" presId="urn:microsoft.com/office/officeart/2005/8/layout/orgChart1"/>
    <dgm:cxn modelId="{41C03484-561D-4DB0-8E83-153D865C62F3}" type="presParOf" srcId="{E7F64C89-4FBA-46AD-8EA2-9716A6965D1F}" destId="{854C4555-AF13-430D-84BD-9C6EB6834CBF}" srcOrd="9" destOrd="0" presId="urn:microsoft.com/office/officeart/2005/8/layout/orgChart1"/>
    <dgm:cxn modelId="{F86E0EF4-E9AF-427A-9AE2-DAEDA1140AD1}" type="presParOf" srcId="{854C4555-AF13-430D-84BD-9C6EB6834CBF}" destId="{AFEB7F9E-946D-4F31-81E0-9D20417DA6CA}" srcOrd="0" destOrd="0" presId="urn:microsoft.com/office/officeart/2005/8/layout/orgChart1"/>
    <dgm:cxn modelId="{EC6CAF1A-6E3C-4B2F-B3C4-FE2664AED0AE}" type="presParOf" srcId="{AFEB7F9E-946D-4F31-81E0-9D20417DA6CA}" destId="{1B957AD6-2155-43A8-94BF-4FC68D7116F8}" srcOrd="0" destOrd="0" presId="urn:microsoft.com/office/officeart/2005/8/layout/orgChart1"/>
    <dgm:cxn modelId="{C604B719-2E1A-449A-8C43-A48CB40E38E2}" type="presParOf" srcId="{AFEB7F9E-946D-4F31-81E0-9D20417DA6CA}" destId="{4E1F449B-E2B0-4D6D-B754-026F37EE205B}" srcOrd="1" destOrd="0" presId="urn:microsoft.com/office/officeart/2005/8/layout/orgChart1"/>
    <dgm:cxn modelId="{A9C25E84-8070-449E-958D-3E15D31B6473}" type="presParOf" srcId="{854C4555-AF13-430D-84BD-9C6EB6834CBF}" destId="{5763F826-2FF3-4A89-A78D-6C8146057636}" srcOrd="1" destOrd="0" presId="urn:microsoft.com/office/officeart/2005/8/layout/orgChart1"/>
    <dgm:cxn modelId="{13AB1FE9-8C28-48A8-8352-E078D33703E3}" type="presParOf" srcId="{5763F826-2FF3-4A89-A78D-6C8146057636}" destId="{1F8E3A24-9FC1-442A-9B8B-C56AFEBC2BA6}" srcOrd="0" destOrd="0" presId="urn:microsoft.com/office/officeart/2005/8/layout/orgChart1"/>
    <dgm:cxn modelId="{B855007F-8565-4BFB-8E98-2D8CD683AF62}" type="presParOf" srcId="{5763F826-2FF3-4A89-A78D-6C8146057636}" destId="{81E84FA7-B2F5-4FF5-B84F-B7201C328389}" srcOrd="1" destOrd="0" presId="urn:microsoft.com/office/officeart/2005/8/layout/orgChart1"/>
    <dgm:cxn modelId="{5A2E96B0-D6D2-4040-BE15-8E47EE851373}" type="presParOf" srcId="{81E84FA7-B2F5-4FF5-B84F-B7201C328389}" destId="{EC5B9DC6-F834-4612-9F38-E1E95DEBE040}" srcOrd="0" destOrd="0" presId="urn:microsoft.com/office/officeart/2005/8/layout/orgChart1"/>
    <dgm:cxn modelId="{C02F590A-04BC-484B-BD80-8C577FBF118E}" type="presParOf" srcId="{EC5B9DC6-F834-4612-9F38-E1E95DEBE040}" destId="{1ED56033-F883-4E3A-A4A8-4DAD05579003}" srcOrd="0" destOrd="0" presId="urn:microsoft.com/office/officeart/2005/8/layout/orgChart1"/>
    <dgm:cxn modelId="{5C6D89D0-18FB-43F2-A7B6-7339B72C0924}" type="presParOf" srcId="{EC5B9DC6-F834-4612-9F38-E1E95DEBE040}" destId="{556DD0C6-F30C-4EFB-9CB7-1FB10B37C27D}" srcOrd="1" destOrd="0" presId="urn:microsoft.com/office/officeart/2005/8/layout/orgChart1"/>
    <dgm:cxn modelId="{C260D912-FBCE-4977-88E2-62F247CE8FFE}" type="presParOf" srcId="{81E84FA7-B2F5-4FF5-B84F-B7201C328389}" destId="{BADE4B71-9F94-4898-9A67-CB4D8900B729}" srcOrd="1" destOrd="0" presId="urn:microsoft.com/office/officeart/2005/8/layout/orgChart1"/>
    <dgm:cxn modelId="{3B349952-F433-485F-B7F2-3A0B3F78BDAE}" type="presParOf" srcId="{81E84FA7-B2F5-4FF5-B84F-B7201C328389}" destId="{149275DE-C87E-4238-83AC-02B2717B0C05}" srcOrd="2" destOrd="0" presId="urn:microsoft.com/office/officeart/2005/8/layout/orgChart1"/>
    <dgm:cxn modelId="{30F92EC2-1E91-4047-B387-2B9D0B7F66E6}" type="presParOf" srcId="{854C4555-AF13-430D-84BD-9C6EB6834CBF}" destId="{FAF9FD5F-7250-4536-9E95-FDA2A3AF1EA4}" srcOrd="2" destOrd="0" presId="urn:microsoft.com/office/officeart/2005/8/layout/orgChart1"/>
    <dgm:cxn modelId="{1E4E9608-9AF7-405D-B1A1-ED70F679C91A}" type="presParOf" srcId="{F603805C-AB93-4FC2-BD03-DA7ECE207DC9}" destId="{ECB59C96-7050-4E98-810C-A8C9E02C9D7F}" srcOrd="2" destOrd="0" presId="urn:microsoft.com/office/officeart/2005/8/layout/orgChart1"/>
    <dgm:cxn modelId="{8814C1E7-772F-4A06-8E47-E1404226B34A}" type="presParOf" srcId="{49471786-D6E8-45DA-9BA5-10216F1D73F9}" destId="{BFEB5884-399E-4BAF-88B1-9935B8377AA3}" srcOrd="2" destOrd="0" presId="urn:microsoft.com/office/officeart/2005/8/layout/orgChart1"/>
    <dgm:cxn modelId="{20F2868A-B1E7-49C3-90BC-E79E323B5335}" type="presParOf" srcId="{49471786-D6E8-45DA-9BA5-10216F1D73F9}" destId="{3A07CB45-2BB5-47A2-A71F-9A901CCF920E}" srcOrd="3" destOrd="0" presId="urn:microsoft.com/office/officeart/2005/8/layout/orgChart1"/>
    <dgm:cxn modelId="{9610B2BD-1A58-463A-8CAC-11CFF7BB3F01}" type="presParOf" srcId="{3A07CB45-2BB5-47A2-A71F-9A901CCF920E}" destId="{8D302F68-6F8D-49FB-9287-18D26E5135A0}" srcOrd="0" destOrd="0" presId="urn:microsoft.com/office/officeart/2005/8/layout/orgChart1"/>
    <dgm:cxn modelId="{1EACCF20-ADF1-4C9D-A064-8FF3B971DED4}" type="presParOf" srcId="{8D302F68-6F8D-49FB-9287-18D26E5135A0}" destId="{CBC52E5B-5592-4BC4-AF93-0EF2DB42F23E}" srcOrd="0" destOrd="0" presId="urn:microsoft.com/office/officeart/2005/8/layout/orgChart1"/>
    <dgm:cxn modelId="{9C6EA78A-21B2-447F-B82F-833A2C7A95C8}" type="presParOf" srcId="{8D302F68-6F8D-49FB-9287-18D26E5135A0}" destId="{322F81B2-A85C-499F-8E41-EA05CFC4C47B}" srcOrd="1" destOrd="0" presId="urn:microsoft.com/office/officeart/2005/8/layout/orgChart1"/>
    <dgm:cxn modelId="{C2FF8356-60C0-4B66-85C6-DD510418FEC4}" type="presParOf" srcId="{3A07CB45-2BB5-47A2-A71F-9A901CCF920E}" destId="{0D16EE58-86D9-41FE-8C05-035F0D8C3AF6}" srcOrd="1" destOrd="0" presId="urn:microsoft.com/office/officeart/2005/8/layout/orgChart1"/>
    <dgm:cxn modelId="{278EBEC8-40C8-4F75-B661-26536220B603}" type="presParOf" srcId="{0D16EE58-86D9-41FE-8C05-035F0D8C3AF6}" destId="{9145F37F-1F27-48BF-B05A-94CAADC16869}" srcOrd="0" destOrd="0" presId="urn:microsoft.com/office/officeart/2005/8/layout/orgChart1"/>
    <dgm:cxn modelId="{EA34815F-BA6B-4043-91E5-F683EED71A0C}" type="presParOf" srcId="{0D16EE58-86D9-41FE-8C05-035F0D8C3AF6}" destId="{0C61AC7C-C30A-4DE6-91DE-EE32B02ECD04}" srcOrd="1" destOrd="0" presId="urn:microsoft.com/office/officeart/2005/8/layout/orgChart1"/>
    <dgm:cxn modelId="{B36DF8E2-5C32-4AE5-89C7-D22F1C884256}" type="presParOf" srcId="{0C61AC7C-C30A-4DE6-91DE-EE32B02ECD04}" destId="{0E64FDC1-63AE-41F8-9954-087B6DFF4A49}" srcOrd="0" destOrd="0" presId="urn:microsoft.com/office/officeart/2005/8/layout/orgChart1"/>
    <dgm:cxn modelId="{667637F1-D577-4941-8BB4-540A303CBDB0}" type="presParOf" srcId="{0E64FDC1-63AE-41F8-9954-087B6DFF4A49}" destId="{9AF6A88F-EE94-4477-A56D-AED8092ED27F}" srcOrd="0" destOrd="0" presId="urn:microsoft.com/office/officeart/2005/8/layout/orgChart1"/>
    <dgm:cxn modelId="{CE9B05A5-087B-4B79-911F-950707AD8ECA}" type="presParOf" srcId="{0E64FDC1-63AE-41F8-9954-087B6DFF4A49}" destId="{233F3197-23CD-4A77-8FD4-15A096D36004}" srcOrd="1" destOrd="0" presId="urn:microsoft.com/office/officeart/2005/8/layout/orgChart1"/>
    <dgm:cxn modelId="{EB6989FF-5220-49E3-B7BE-FDE82587FFE6}" type="presParOf" srcId="{0C61AC7C-C30A-4DE6-91DE-EE32B02ECD04}" destId="{BBF8DB03-BB69-497F-938F-C61B11257731}" srcOrd="1" destOrd="0" presId="urn:microsoft.com/office/officeart/2005/8/layout/orgChart1"/>
    <dgm:cxn modelId="{16B50A04-ED93-40BB-89A4-93F37BD35444}" type="presParOf" srcId="{BBF8DB03-BB69-497F-938F-C61B11257731}" destId="{72E15475-8752-4769-855C-87F4EA764754}" srcOrd="0" destOrd="0" presId="urn:microsoft.com/office/officeart/2005/8/layout/orgChart1"/>
    <dgm:cxn modelId="{29F7EB15-173D-4A03-9DE7-D4825FEA133B}" type="presParOf" srcId="{BBF8DB03-BB69-497F-938F-C61B11257731}" destId="{F0B609FA-940B-4600-9DD8-095CF733B367}" srcOrd="1" destOrd="0" presId="urn:microsoft.com/office/officeart/2005/8/layout/orgChart1"/>
    <dgm:cxn modelId="{47C3D7AA-EFE0-43AB-A828-4CB050389C7D}" type="presParOf" srcId="{F0B609FA-940B-4600-9DD8-095CF733B367}" destId="{1DE3362F-3F96-4107-AF00-0A92B841A1B4}" srcOrd="0" destOrd="0" presId="urn:microsoft.com/office/officeart/2005/8/layout/orgChart1"/>
    <dgm:cxn modelId="{F1560201-8E0F-43CE-AA54-56010AED98B5}" type="presParOf" srcId="{1DE3362F-3F96-4107-AF00-0A92B841A1B4}" destId="{90AF18D2-3CE1-438D-8409-414FDC7350A1}" srcOrd="0" destOrd="0" presId="urn:microsoft.com/office/officeart/2005/8/layout/orgChart1"/>
    <dgm:cxn modelId="{020A4F50-3D21-4218-B950-DAE9A6DCEBA8}" type="presParOf" srcId="{1DE3362F-3F96-4107-AF00-0A92B841A1B4}" destId="{A5327773-D974-4E12-B0D8-578A3F2C2122}" srcOrd="1" destOrd="0" presId="urn:microsoft.com/office/officeart/2005/8/layout/orgChart1"/>
    <dgm:cxn modelId="{9003D603-28C9-4DBF-A5F5-82FF674B1272}" type="presParOf" srcId="{F0B609FA-940B-4600-9DD8-095CF733B367}" destId="{DAD5EC2A-50BF-4786-909F-A618D899A3C4}" srcOrd="1" destOrd="0" presId="urn:microsoft.com/office/officeart/2005/8/layout/orgChart1"/>
    <dgm:cxn modelId="{B59F81F3-DD97-49AC-AD0F-D599A3E3065A}" type="presParOf" srcId="{F0B609FA-940B-4600-9DD8-095CF733B367}" destId="{327C366C-8229-49FB-B93B-08CA7FB7A61D}" srcOrd="2" destOrd="0" presId="urn:microsoft.com/office/officeart/2005/8/layout/orgChart1"/>
    <dgm:cxn modelId="{CBBF1587-CE22-40B4-99D1-5360B36D514C}" type="presParOf" srcId="{0C61AC7C-C30A-4DE6-91DE-EE32B02ECD04}" destId="{FCBDE334-2080-402C-A22E-EFBA59BC9F48}" srcOrd="2" destOrd="0" presId="urn:microsoft.com/office/officeart/2005/8/layout/orgChart1"/>
    <dgm:cxn modelId="{FE4AC577-D558-4B6D-9103-BC6C28F5509F}" type="presParOf" srcId="{0D16EE58-86D9-41FE-8C05-035F0D8C3AF6}" destId="{D26B73D7-7624-4C27-9D91-6F1FA61FD154}" srcOrd="2" destOrd="0" presId="urn:microsoft.com/office/officeart/2005/8/layout/orgChart1"/>
    <dgm:cxn modelId="{A513891C-4399-43D4-B9AE-9A265B115013}" type="presParOf" srcId="{0D16EE58-86D9-41FE-8C05-035F0D8C3AF6}" destId="{698A6106-077B-4C85-88F1-A9CD3CB94E85}" srcOrd="3" destOrd="0" presId="urn:microsoft.com/office/officeart/2005/8/layout/orgChart1"/>
    <dgm:cxn modelId="{95DE1137-A041-4B45-8C77-3C97041902D2}" type="presParOf" srcId="{698A6106-077B-4C85-88F1-A9CD3CB94E85}" destId="{02EBC235-A74D-4B22-832E-0FE98DDDE9E8}" srcOrd="0" destOrd="0" presId="urn:microsoft.com/office/officeart/2005/8/layout/orgChart1"/>
    <dgm:cxn modelId="{33338A4B-7938-43EA-AD0F-2386E35ABDB7}" type="presParOf" srcId="{02EBC235-A74D-4B22-832E-0FE98DDDE9E8}" destId="{2E9C83DA-49D1-4608-96BB-CFEA977C1097}" srcOrd="0" destOrd="0" presId="urn:microsoft.com/office/officeart/2005/8/layout/orgChart1"/>
    <dgm:cxn modelId="{63B64B3A-9307-4C99-91B3-B6EE470449C1}" type="presParOf" srcId="{02EBC235-A74D-4B22-832E-0FE98DDDE9E8}" destId="{245314D3-2E18-41DE-A75A-52EC4A865FFF}" srcOrd="1" destOrd="0" presId="urn:microsoft.com/office/officeart/2005/8/layout/orgChart1"/>
    <dgm:cxn modelId="{1ED3DA0F-DE7E-4062-ADD1-6FFEB3A677E5}" type="presParOf" srcId="{698A6106-077B-4C85-88F1-A9CD3CB94E85}" destId="{B5329392-8E53-4FCD-836F-CFB97208F4E3}" srcOrd="1" destOrd="0" presId="urn:microsoft.com/office/officeart/2005/8/layout/orgChart1"/>
    <dgm:cxn modelId="{ACFEA875-2858-487D-927E-02244D0CF5A6}" type="presParOf" srcId="{B5329392-8E53-4FCD-836F-CFB97208F4E3}" destId="{93154324-0028-4A1E-9002-C3E362D99081}" srcOrd="0" destOrd="0" presId="urn:microsoft.com/office/officeart/2005/8/layout/orgChart1"/>
    <dgm:cxn modelId="{01943FFD-ACB3-4668-9389-3CE1E197AECD}" type="presParOf" srcId="{B5329392-8E53-4FCD-836F-CFB97208F4E3}" destId="{037424A3-910A-4DD0-84A2-6B3A660A5E67}" srcOrd="1" destOrd="0" presId="urn:microsoft.com/office/officeart/2005/8/layout/orgChart1"/>
    <dgm:cxn modelId="{A1E9A4CF-F1B0-4B5C-BDC0-16ECFA76B9D1}" type="presParOf" srcId="{037424A3-910A-4DD0-84A2-6B3A660A5E67}" destId="{4C2F3D5F-D741-46A9-9427-FB0D88D0793B}" srcOrd="0" destOrd="0" presId="urn:microsoft.com/office/officeart/2005/8/layout/orgChart1"/>
    <dgm:cxn modelId="{D917CDFD-21FA-4190-A975-66ABDFE1D7D7}" type="presParOf" srcId="{4C2F3D5F-D741-46A9-9427-FB0D88D0793B}" destId="{D5BD4555-9442-4405-BDF8-B05DE1D5B039}" srcOrd="0" destOrd="0" presId="urn:microsoft.com/office/officeart/2005/8/layout/orgChart1"/>
    <dgm:cxn modelId="{0E8E997B-C940-41E9-AD91-0B070DA720FF}" type="presParOf" srcId="{4C2F3D5F-D741-46A9-9427-FB0D88D0793B}" destId="{C4284D33-2ED4-4086-BC8E-4851EED6B7F7}" srcOrd="1" destOrd="0" presId="urn:microsoft.com/office/officeart/2005/8/layout/orgChart1"/>
    <dgm:cxn modelId="{7FB63959-E455-48AB-A4DC-99796FBC76BF}" type="presParOf" srcId="{037424A3-910A-4DD0-84A2-6B3A660A5E67}" destId="{287B17C7-882C-41A9-BA45-FB9E725733C7}" srcOrd="1" destOrd="0" presId="urn:microsoft.com/office/officeart/2005/8/layout/orgChart1"/>
    <dgm:cxn modelId="{40F7FB64-465C-4AF7-BB9D-1BAE0EA843A0}" type="presParOf" srcId="{037424A3-910A-4DD0-84A2-6B3A660A5E67}" destId="{605F22C5-1A1C-44C6-881A-822CF3990F12}" srcOrd="2" destOrd="0" presId="urn:microsoft.com/office/officeart/2005/8/layout/orgChart1"/>
    <dgm:cxn modelId="{BD7BB6CF-05EE-4B28-9F85-4BC2C45DAB74}" type="presParOf" srcId="{698A6106-077B-4C85-88F1-A9CD3CB94E85}" destId="{B69A93FE-9C36-48B4-A58C-B384C8016C6C}" srcOrd="2" destOrd="0" presId="urn:microsoft.com/office/officeart/2005/8/layout/orgChart1"/>
    <dgm:cxn modelId="{63CB35BC-884C-4EC9-8983-CE327B10F82C}" type="presParOf" srcId="{0D16EE58-86D9-41FE-8C05-035F0D8C3AF6}" destId="{BDEB7EDB-EF68-4D15-8AF0-275FA5280617}" srcOrd="4" destOrd="0" presId="urn:microsoft.com/office/officeart/2005/8/layout/orgChart1"/>
    <dgm:cxn modelId="{DFCF3E7D-5440-4CAA-AD03-86245F094FF4}" type="presParOf" srcId="{0D16EE58-86D9-41FE-8C05-035F0D8C3AF6}" destId="{AD79EB4A-975A-4BCD-B5B0-715B80747721}" srcOrd="5" destOrd="0" presId="urn:microsoft.com/office/officeart/2005/8/layout/orgChart1"/>
    <dgm:cxn modelId="{A1B81BD9-EF11-41A7-AF6B-6B05BF010959}" type="presParOf" srcId="{AD79EB4A-975A-4BCD-B5B0-715B80747721}" destId="{A8C388DC-F122-4CE8-A83E-69A0F0D38752}" srcOrd="0" destOrd="0" presId="urn:microsoft.com/office/officeart/2005/8/layout/orgChart1"/>
    <dgm:cxn modelId="{4E38338C-7967-4F15-859B-501B1EEA6741}" type="presParOf" srcId="{A8C388DC-F122-4CE8-A83E-69A0F0D38752}" destId="{E5E37977-981F-4DB2-ACCB-205F955D3CA6}" srcOrd="0" destOrd="0" presId="urn:microsoft.com/office/officeart/2005/8/layout/orgChart1"/>
    <dgm:cxn modelId="{39C48887-51CF-4142-BB34-9E09827CC36D}" type="presParOf" srcId="{A8C388DC-F122-4CE8-A83E-69A0F0D38752}" destId="{768DBA47-07C9-4389-8AE8-9AE78EA0AB6A}" srcOrd="1" destOrd="0" presId="urn:microsoft.com/office/officeart/2005/8/layout/orgChart1"/>
    <dgm:cxn modelId="{D83E9C47-86B6-4EDD-B9B5-0550724C6CE1}" type="presParOf" srcId="{AD79EB4A-975A-4BCD-B5B0-715B80747721}" destId="{1794B9A1-BE7C-4CF3-AEB1-9C7A4A42C2AB}" srcOrd="1" destOrd="0" presId="urn:microsoft.com/office/officeart/2005/8/layout/orgChart1"/>
    <dgm:cxn modelId="{ED4BA638-5012-4B71-A874-1BAEF8B8B69A}" type="presParOf" srcId="{1794B9A1-BE7C-4CF3-AEB1-9C7A4A42C2AB}" destId="{4D55E7B3-F2F0-468D-B248-5EF615E671CE}" srcOrd="0" destOrd="0" presId="urn:microsoft.com/office/officeart/2005/8/layout/orgChart1"/>
    <dgm:cxn modelId="{4D6A86DF-E7CF-4E67-80F4-660922088F1D}" type="presParOf" srcId="{1794B9A1-BE7C-4CF3-AEB1-9C7A4A42C2AB}" destId="{D62975FF-EAB8-4351-AB17-2B6A3A3E96FD}" srcOrd="1" destOrd="0" presId="urn:microsoft.com/office/officeart/2005/8/layout/orgChart1"/>
    <dgm:cxn modelId="{61481AB2-1DC1-4D2D-BF19-A6E31ED2D90F}" type="presParOf" srcId="{D62975FF-EAB8-4351-AB17-2B6A3A3E96FD}" destId="{07F4579F-F82B-4CE8-B911-9959DF6F9713}" srcOrd="0" destOrd="0" presId="urn:microsoft.com/office/officeart/2005/8/layout/orgChart1"/>
    <dgm:cxn modelId="{5CA64C01-B3BA-4B19-A2CD-534B10658938}" type="presParOf" srcId="{07F4579F-F82B-4CE8-B911-9959DF6F9713}" destId="{067640AB-CD5B-414A-B7F5-43076629ACB7}" srcOrd="0" destOrd="0" presId="urn:microsoft.com/office/officeart/2005/8/layout/orgChart1"/>
    <dgm:cxn modelId="{F37FA106-1997-45C7-B9C6-8EEBB716FC77}" type="presParOf" srcId="{07F4579F-F82B-4CE8-B911-9959DF6F9713}" destId="{EC7FAA3E-CA74-473E-A662-C8FEE7242728}" srcOrd="1" destOrd="0" presId="urn:microsoft.com/office/officeart/2005/8/layout/orgChart1"/>
    <dgm:cxn modelId="{93175C28-C06A-41D8-BEB7-AD0D484C2E4F}" type="presParOf" srcId="{D62975FF-EAB8-4351-AB17-2B6A3A3E96FD}" destId="{95C4CF90-9E41-4036-BFAA-3670ADAE1D80}" srcOrd="1" destOrd="0" presId="urn:microsoft.com/office/officeart/2005/8/layout/orgChart1"/>
    <dgm:cxn modelId="{62CCF09E-54F4-42FF-852B-CB254D0AF192}" type="presParOf" srcId="{D62975FF-EAB8-4351-AB17-2B6A3A3E96FD}" destId="{4BBA9E13-A6AB-48C5-982D-635E0B7D5F0F}" srcOrd="2" destOrd="0" presId="urn:microsoft.com/office/officeart/2005/8/layout/orgChart1"/>
    <dgm:cxn modelId="{B71F7A09-196A-4A5C-937E-0772A20FB80C}" type="presParOf" srcId="{AD79EB4A-975A-4BCD-B5B0-715B80747721}" destId="{E5317221-097A-40F7-8706-D33A46E7F293}" srcOrd="2" destOrd="0" presId="urn:microsoft.com/office/officeart/2005/8/layout/orgChart1"/>
    <dgm:cxn modelId="{C2D1D671-BEA0-47C3-B158-0634359CFE41}" type="presParOf" srcId="{3A07CB45-2BB5-47A2-A71F-9A901CCF920E}" destId="{75583C29-6F1C-4D08-AC1A-C42B4BD4E698}" srcOrd="2" destOrd="0" presId="urn:microsoft.com/office/officeart/2005/8/layout/orgChart1"/>
    <dgm:cxn modelId="{42C15978-8A1B-425F-AA80-2E0C9F9C56EA}" type="presParOf" srcId="{EA1A4C1D-F3DE-4D62-8170-DC7E0FB58E66}" destId="{2821D033-B54C-4229-ACC2-47F5C8AE4B4A}"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55E7B3-F2F0-468D-B248-5EF615E671CE}">
      <dsp:nvSpPr>
        <dsp:cNvPr id="0" name=""/>
        <dsp:cNvSpPr/>
      </dsp:nvSpPr>
      <dsp:spPr>
        <a:xfrm>
          <a:off x="10372313"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EB7EDB-EF68-4D15-8AF0-275FA5280617}">
      <dsp:nvSpPr>
        <dsp:cNvPr id="0" name=""/>
        <dsp:cNvSpPr/>
      </dsp:nvSpPr>
      <dsp:spPr>
        <a:xfrm>
          <a:off x="9392163" y="2240937"/>
          <a:ext cx="1464174" cy="254113"/>
        </a:xfrm>
        <a:custGeom>
          <a:avLst/>
          <a:gdLst/>
          <a:ahLst/>
          <a:cxnLst/>
          <a:rect l="0" t="0" r="0" b="0"/>
          <a:pathLst>
            <a:path>
              <a:moveTo>
                <a:pt x="0" y="0"/>
              </a:moveTo>
              <a:lnTo>
                <a:pt x="0" y="127056"/>
              </a:lnTo>
              <a:lnTo>
                <a:pt x="1464174" y="127056"/>
              </a:lnTo>
              <a:lnTo>
                <a:pt x="1464174"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154324-0028-4A1E-9002-C3E362D99081}">
      <dsp:nvSpPr>
        <dsp:cNvPr id="0" name=""/>
        <dsp:cNvSpPr/>
      </dsp:nvSpPr>
      <dsp:spPr>
        <a:xfrm>
          <a:off x="8908138"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26B73D7-7624-4C27-9D91-6F1FA61FD154}">
      <dsp:nvSpPr>
        <dsp:cNvPr id="0" name=""/>
        <dsp:cNvSpPr/>
      </dsp:nvSpPr>
      <dsp:spPr>
        <a:xfrm>
          <a:off x="9346443" y="2240937"/>
          <a:ext cx="91440" cy="254113"/>
        </a:xfrm>
        <a:custGeom>
          <a:avLst/>
          <a:gdLst/>
          <a:ahLst/>
          <a:cxnLst/>
          <a:rect l="0" t="0" r="0" b="0"/>
          <a:pathLst>
            <a:path>
              <a:moveTo>
                <a:pt x="45720" y="0"/>
              </a:moveTo>
              <a:lnTo>
                <a:pt x="45720"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2E15475-8752-4769-855C-87F4EA764754}">
      <dsp:nvSpPr>
        <dsp:cNvPr id="0" name=""/>
        <dsp:cNvSpPr/>
      </dsp:nvSpPr>
      <dsp:spPr>
        <a:xfrm>
          <a:off x="7443963"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45F37F-1F27-48BF-B05A-94CAADC16869}">
      <dsp:nvSpPr>
        <dsp:cNvPr id="0" name=""/>
        <dsp:cNvSpPr/>
      </dsp:nvSpPr>
      <dsp:spPr>
        <a:xfrm>
          <a:off x="7927988" y="2240937"/>
          <a:ext cx="1464174" cy="254113"/>
        </a:xfrm>
        <a:custGeom>
          <a:avLst/>
          <a:gdLst/>
          <a:ahLst/>
          <a:cxnLst/>
          <a:rect l="0" t="0" r="0" b="0"/>
          <a:pathLst>
            <a:path>
              <a:moveTo>
                <a:pt x="1464174" y="0"/>
              </a:moveTo>
              <a:lnTo>
                <a:pt x="1464174" y="127056"/>
              </a:lnTo>
              <a:lnTo>
                <a:pt x="0" y="127056"/>
              </a:lnTo>
              <a:lnTo>
                <a:pt x="0"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FEB5884-399E-4BAF-88B1-9935B8377AA3}">
      <dsp:nvSpPr>
        <dsp:cNvPr id="0" name=""/>
        <dsp:cNvSpPr/>
      </dsp:nvSpPr>
      <dsp:spPr>
        <a:xfrm>
          <a:off x="5481648" y="1398861"/>
          <a:ext cx="3910514" cy="237045"/>
        </a:xfrm>
        <a:custGeom>
          <a:avLst/>
          <a:gdLst/>
          <a:ahLst/>
          <a:cxnLst/>
          <a:rect l="0" t="0" r="0" b="0"/>
          <a:pathLst>
            <a:path>
              <a:moveTo>
                <a:pt x="0" y="0"/>
              </a:moveTo>
              <a:lnTo>
                <a:pt x="0" y="109988"/>
              </a:lnTo>
              <a:lnTo>
                <a:pt x="3910514" y="109988"/>
              </a:lnTo>
              <a:lnTo>
                <a:pt x="3910514" y="23704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F8E3A24-9FC1-442A-9B8B-C56AFEBC2BA6}">
      <dsp:nvSpPr>
        <dsp:cNvPr id="0" name=""/>
        <dsp:cNvSpPr/>
      </dsp:nvSpPr>
      <dsp:spPr>
        <a:xfrm>
          <a:off x="5979788"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84EBDA-CA1C-4C72-94B1-C1E54782F48F}">
      <dsp:nvSpPr>
        <dsp:cNvPr id="0" name=""/>
        <dsp:cNvSpPr/>
      </dsp:nvSpPr>
      <dsp:spPr>
        <a:xfrm>
          <a:off x="3535463" y="2240937"/>
          <a:ext cx="2928349" cy="254113"/>
        </a:xfrm>
        <a:custGeom>
          <a:avLst/>
          <a:gdLst/>
          <a:ahLst/>
          <a:cxnLst/>
          <a:rect l="0" t="0" r="0" b="0"/>
          <a:pathLst>
            <a:path>
              <a:moveTo>
                <a:pt x="0" y="0"/>
              </a:moveTo>
              <a:lnTo>
                <a:pt x="0" y="127056"/>
              </a:lnTo>
              <a:lnTo>
                <a:pt x="2928349" y="127056"/>
              </a:lnTo>
              <a:lnTo>
                <a:pt x="2928349"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D9660D-0395-4FC5-BBCB-BC812791744A}">
      <dsp:nvSpPr>
        <dsp:cNvPr id="0" name=""/>
        <dsp:cNvSpPr/>
      </dsp:nvSpPr>
      <dsp:spPr>
        <a:xfrm>
          <a:off x="4515613"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2DBFA5-D85D-49E1-A320-5381460A4B58}">
      <dsp:nvSpPr>
        <dsp:cNvPr id="0" name=""/>
        <dsp:cNvSpPr/>
      </dsp:nvSpPr>
      <dsp:spPr>
        <a:xfrm>
          <a:off x="3535463" y="2240937"/>
          <a:ext cx="1464174" cy="254113"/>
        </a:xfrm>
        <a:custGeom>
          <a:avLst/>
          <a:gdLst/>
          <a:ahLst/>
          <a:cxnLst/>
          <a:rect l="0" t="0" r="0" b="0"/>
          <a:pathLst>
            <a:path>
              <a:moveTo>
                <a:pt x="0" y="0"/>
              </a:moveTo>
              <a:lnTo>
                <a:pt x="0" y="127056"/>
              </a:lnTo>
              <a:lnTo>
                <a:pt x="1464174" y="127056"/>
              </a:lnTo>
              <a:lnTo>
                <a:pt x="1464174"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5221607-F312-4178-BDC3-F813059C60D1}">
      <dsp:nvSpPr>
        <dsp:cNvPr id="0" name=""/>
        <dsp:cNvSpPr/>
      </dsp:nvSpPr>
      <dsp:spPr>
        <a:xfrm>
          <a:off x="3051438"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F07CE45-9876-8841-9DD8-C723176A8295}">
      <dsp:nvSpPr>
        <dsp:cNvPr id="0" name=""/>
        <dsp:cNvSpPr/>
      </dsp:nvSpPr>
      <dsp:spPr>
        <a:xfrm>
          <a:off x="3489743" y="2240937"/>
          <a:ext cx="91440" cy="254113"/>
        </a:xfrm>
        <a:custGeom>
          <a:avLst/>
          <a:gdLst/>
          <a:ahLst/>
          <a:cxnLst/>
          <a:rect l="0" t="0" r="0" b="0"/>
          <a:pathLst>
            <a:path>
              <a:moveTo>
                <a:pt x="45720" y="0"/>
              </a:moveTo>
              <a:lnTo>
                <a:pt x="45720"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24F350B-01C1-EC4E-BC80-2B8869BADF6E}">
      <dsp:nvSpPr>
        <dsp:cNvPr id="0" name=""/>
        <dsp:cNvSpPr/>
      </dsp:nvSpPr>
      <dsp:spPr>
        <a:xfrm>
          <a:off x="1587263"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A1EDB5A-ED17-4BCF-89E2-70C1888B4397}">
      <dsp:nvSpPr>
        <dsp:cNvPr id="0" name=""/>
        <dsp:cNvSpPr/>
      </dsp:nvSpPr>
      <dsp:spPr>
        <a:xfrm>
          <a:off x="2071288" y="2240937"/>
          <a:ext cx="1464174" cy="254113"/>
        </a:xfrm>
        <a:custGeom>
          <a:avLst/>
          <a:gdLst/>
          <a:ahLst/>
          <a:cxnLst/>
          <a:rect l="0" t="0" r="0" b="0"/>
          <a:pathLst>
            <a:path>
              <a:moveTo>
                <a:pt x="1464174" y="0"/>
              </a:moveTo>
              <a:lnTo>
                <a:pt x="1464174" y="127056"/>
              </a:lnTo>
              <a:lnTo>
                <a:pt x="0" y="127056"/>
              </a:lnTo>
              <a:lnTo>
                <a:pt x="0"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59D5E5-D4B1-4F3C-8491-10B400DD41DB}">
      <dsp:nvSpPr>
        <dsp:cNvPr id="0" name=""/>
        <dsp:cNvSpPr/>
      </dsp:nvSpPr>
      <dsp:spPr>
        <a:xfrm>
          <a:off x="123088" y="3100081"/>
          <a:ext cx="181509" cy="556628"/>
        </a:xfrm>
        <a:custGeom>
          <a:avLst/>
          <a:gdLst/>
          <a:ahLst/>
          <a:cxnLst/>
          <a:rect l="0" t="0" r="0" b="0"/>
          <a:pathLst>
            <a:path>
              <a:moveTo>
                <a:pt x="0" y="0"/>
              </a:moveTo>
              <a:lnTo>
                <a:pt x="0" y="556628"/>
              </a:lnTo>
              <a:lnTo>
                <a:pt x="181509" y="55662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A45CC3A-0B78-4849-B05D-CE79CF0C1744}">
      <dsp:nvSpPr>
        <dsp:cNvPr id="0" name=""/>
        <dsp:cNvSpPr/>
      </dsp:nvSpPr>
      <dsp:spPr>
        <a:xfrm>
          <a:off x="607113" y="2240937"/>
          <a:ext cx="2928349" cy="254113"/>
        </a:xfrm>
        <a:custGeom>
          <a:avLst/>
          <a:gdLst/>
          <a:ahLst/>
          <a:cxnLst/>
          <a:rect l="0" t="0" r="0" b="0"/>
          <a:pathLst>
            <a:path>
              <a:moveTo>
                <a:pt x="2928349" y="0"/>
              </a:moveTo>
              <a:lnTo>
                <a:pt x="2928349" y="127056"/>
              </a:lnTo>
              <a:lnTo>
                <a:pt x="0" y="127056"/>
              </a:lnTo>
              <a:lnTo>
                <a:pt x="0" y="25411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F7AC4B-E38D-4943-B197-2D7758048DD6}">
      <dsp:nvSpPr>
        <dsp:cNvPr id="0" name=""/>
        <dsp:cNvSpPr/>
      </dsp:nvSpPr>
      <dsp:spPr>
        <a:xfrm>
          <a:off x="3535463" y="1398861"/>
          <a:ext cx="1946184" cy="237045"/>
        </a:xfrm>
        <a:custGeom>
          <a:avLst/>
          <a:gdLst/>
          <a:ahLst/>
          <a:cxnLst/>
          <a:rect l="0" t="0" r="0" b="0"/>
          <a:pathLst>
            <a:path>
              <a:moveTo>
                <a:pt x="1946184" y="0"/>
              </a:moveTo>
              <a:lnTo>
                <a:pt x="1946184" y="109988"/>
              </a:lnTo>
              <a:lnTo>
                <a:pt x="0" y="109988"/>
              </a:lnTo>
              <a:lnTo>
                <a:pt x="0" y="23704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6E74C02-AF7A-4EF0-B75C-CA2BC16E5E43}">
      <dsp:nvSpPr>
        <dsp:cNvPr id="0" name=""/>
        <dsp:cNvSpPr/>
      </dsp:nvSpPr>
      <dsp:spPr>
        <a:xfrm>
          <a:off x="4350645" y="590262"/>
          <a:ext cx="2262005" cy="808599"/>
        </a:xfrm>
        <a:prstGeom prst="rect">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GB" sz="1400" b="0" kern="1200">
              <a:latin typeface="Arial" panose="020B0604020202020204" pitchFamily="34" charset="0"/>
              <a:cs typeface="Arial" panose="020B0604020202020204" pitchFamily="34" charset="0"/>
            </a:rPr>
            <a:t>R&amp;I Infrastructure Budgets within UKRI</a:t>
          </a:r>
        </a:p>
      </dsp:txBody>
      <dsp:txXfrm>
        <a:off x="4350645" y="590262"/>
        <a:ext cx="2262005" cy="808599"/>
      </dsp:txXfrm>
    </dsp:sp>
    <dsp:sp modelId="{740A0395-7F98-4F78-8A0F-924FC0C856A0}">
      <dsp:nvSpPr>
        <dsp:cNvPr id="0" name=""/>
        <dsp:cNvSpPr/>
      </dsp:nvSpPr>
      <dsp:spPr>
        <a:xfrm>
          <a:off x="2930432" y="1635906"/>
          <a:ext cx="1210061" cy="605030"/>
        </a:xfrm>
        <a:prstGeom prst="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0" i="0" u="none" kern="1200">
              <a:latin typeface="Arial" panose="020B0604020202020204" pitchFamily="34" charset="0"/>
              <a:cs typeface="Arial" panose="020B0604020202020204" pitchFamily="34" charset="0"/>
            </a:rPr>
            <a:t>Project </a:t>
          </a:r>
          <a:br>
            <a:rPr lang="en-GB" sz="1200" b="0" i="0" u="none" kern="1200">
              <a:latin typeface="Arial" panose="020B0604020202020204" pitchFamily="34" charset="0"/>
              <a:cs typeface="Arial" panose="020B0604020202020204" pitchFamily="34" charset="0"/>
            </a:rPr>
          </a:br>
          <a:r>
            <a:rPr lang="en-GB" sz="1200" b="0" i="0" u="none" kern="1200">
              <a:latin typeface="Arial" panose="020B0604020202020204" pitchFamily="34" charset="0"/>
              <a:cs typeface="Arial" panose="020B0604020202020204" pitchFamily="34" charset="0"/>
            </a:rPr>
            <a:t>Funding</a:t>
          </a:r>
        </a:p>
      </dsp:txBody>
      <dsp:txXfrm>
        <a:off x="2930432" y="1635906"/>
        <a:ext cx="1210061" cy="605030"/>
      </dsp:txXfrm>
    </dsp:sp>
    <dsp:sp modelId="{436F774E-2ABF-42CC-9C62-509D18A7EF7A}">
      <dsp:nvSpPr>
        <dsp:cNvPr id="0" name=""/>
        <dsp:cNvSpPr/>
      </dsp:nvSpPr>
      <dsp:spPr>
        <a:xfrm>
          <a:off x="2082" y="2495050"/>
          <a:ext cx="1210061" cy="605030"/>
        </a:xfrm>
        <a:prstGeom prst="rect">
          <a:avLst/>
        </a:prstGeom>
        <a:solidFill>
          <a:schemeClr val="accent1">
            <a:lumMod val="40000"/>
            <a:lumOff val="60000"/>
          </a:schemeClr>
        </a:solidFill>
        <a:ln w="762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Infrastructure Fund </a:t>
          </a:r>
        </a:p>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481M</a:t>
          </a:r>
        </a:p>
      </dsp:txBody>
      <dsp:txXfrm>
        <a:off x="2082" y="2495050"/>
        <a:ext cx="1210061" cy="605030"/>
      </dsp:txXfrm>
    </dsp:sp>
    <dsp:sp modelId="{170C4C38-5A37-436D-B645-DF84E12AB9E3}">
      <dsp:nvSpPr>
        <dsp:cNvPr id="0" name=""/>
        <dsp:cNvSpPr/>
      </dsp:nvSpPr>
      <dsp:spPr>
        <a:xfrm>
          <a:off x="304598"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Proposals from councils</a:t>
          </a:r>
        </a:p>
      </dsp:txBody>
      <dsp:txXfrm>
        <a:off x="304598" y="3354194"/>
        <a:ext cx="1210061" cy="605030"/>
      </dsp:txXfrm>
    </dsp:sp>
    <dsp:sp modelId="{BAAE7E9F-74A4-40DE-9B5A-87865BBFEA70}">
      <dsp:nvSpPr>
        <dsp:cNvPr id="0" name=""/>
        <dsp:cNvSpPr/>
      </dsp:nvSpPr>
      <dsp:spPr>
        <a:xfrm>
          <a:off x="1466257" y="2495050"/>
          <a:ext cx="1210061" cy="605030"/>
        </a:xfrm>
        <a:prstGeom prst="rect">
          <a:avLst/>
        </a:prstGeom>
        <a:solidFill>
          <a:schemeClr val="accent1">
            <a:lumMod val="40000"/>
            <a:lumOff val="60000"/>
          </a:schemeClr>
        </a:solidFill>
        <a:ln w="762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Digital Research Infrastructure</a:t>
          </a:r>
        </a:p>
        <a:p>
          <a:pPr marL="0" lvl="0" indent="0" algn="ctr" defTabSz="533400">
            <a:lnSpc>
              <a:spcPct val="90000"/>
            </a:lnSpc>
            <a:spcBef>
              <a:spcPct val="0"/>
            </a:spcBef>
            <a:spcAft>
              <a:spcPct val="35000"/>
            </a:spcAft>
            <a:buNone/>
          </a:pPr>
          <a:r>
            <a:rPr lang="en-GB" sz="1200" b="0" kern="1200">
              <a:solidFill>
                <a:schemeClr val="accent1">
                  <a:lumMod val="50000"/>
                </a:schemeClr>
              </a:solidFill>
              <a:latin typeface="Arial" panose="020B0604020202020204" pitchFamily="34" charset="0"/>
              <a:cs typeface="Arial" panose="020B0604020202020204" pitchFamily="34" charset="0"/>
            </a:rPr>
            <a:t>£129M</a:t>
          </a:r>
        </a:p>
      </dsp:txBody>
      <dsp:txXfrm>
        <a:off x="1466257" y="2495050"/>
        <a:ext cx="1210061" cy="605030"/>
      </dsp:txXfrm>
    </dsp:sp>
    <dsp:sp modelId="{DED054E8-2FF4-4D46-BC32-1BC8E4D1544C}">
      <dsp:nvSpPr>
        <dsp:cNvPr id="0" name=""/>
        <dsp:cNvSpPr/>
      </dsp:nvSpPr>
      <dsp:spPr>
        <a:xfrm>
          <a:off x="1768772"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0" kern="1200">
              <a:solidFill>
                <a:schemeClr val="accent1">
                  <a:lumMod val="50000"/>
                </a:schemeClr>
              </a:solidFill>
              <a:latin typeface="Arial" panose="020B0604020202020204" pitchFamily="34" charset="0"/>
              <a:cs typeface="Arial" panose="020B0604020202020204" pitchFamily="34" charset="0"/>
            </a:rPr>
            <a:t>Proposals from councils</a:t>
          </a:r>
        </a:p>
      </dsp:txBody>
      <dsp:txXfrm>
        <a:off x="1768772" y="3354194"/>
        <a:ext cx="1210061" cy="605030"/>
      </dsp:txXfrm>
    </dsp:sp>
    <dsp:sp modelId="{34DC2A82-AF89-3B45-BB5B-7CDC3B227F53}">
      <dsp:nvSpPr>
        <dsp:cNvPr id="0" name=""/>
        <dsp:cNvSpPr/>
      </dsp:nvSpPr>
      <dsp:spPr>
        <a:xfrm>
          <a:off x="2930432" y="2495050"/>
          <a:ext cx="1210061" cy="605030"/>
        </a:xfrm>
        <a:prstGeom prst="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0" kern="1200">
              <a:solidFill>
                <a:schemeClr val="accent1">
                  <a:lumMod val="50000"/>
                </a:schemeClr>
              </a:solidFill>
              <a:latin typeface="Arial" panose="020B0604020202020204" pitchFamily="34" charset="0"/>
              <a:cs typeface="Arial" panose="020B0604020202020204" pitchFamily="34" charset="0"/>
            </a:rPr>
            <a:t>Carbon Zero Fund £48M</a:t>
          </a:r>
        </a:p>
      </dsp:txBody>
      <dsp:txXfrm>
        <a:off x="2930432" y="2495050"/>
        <a:ext cx="1210061" cy="605030"/>
      </dsp:txXfrm>
    </dsp:sp>
    <dsp:sp modelId="{B888F443-7F53-4AFD-ACF8-774234640E39}">
      <dsp:nvSpPr>
        <dsp:cNvPr id="0" name=""/>
        <dsp:cNvSpPr/>
      </dsp:nvSpPr>
      <dsp:spPr>
        <a:xfrm>
          <a:off x="3232947"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Decarbonising UKRI-owned operations</a:t>
          </a:r>
        </a:p>
      </dsp:txBody>
      <dsp:txXfrm>
        <a:off x="3232947" y="3354194"/>
        <a:ext cx="1210061" cy="605030"/>
      </dsp:txXfrm>
    </dsp:sp>
    <dsp:sp modelId="{8D5D4524-3F0A-40B5-9B1B-0484120DD831}">
      <dsp:nvSpPr>
        <dsp:cNvPr id="0" name=""/>
        <dsp:cNvSpPr/>
      </dsp:nvSpPr>
      <dsp:spPr>
        <a:xfrm>
          <a:off x="4394607" y="2495050"/>
          <a:ext cx="1210061" cy="605030"/>
        </a:xfrm>
        <a:prstGeom prst="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0" kern="1200">
              <a:solidFill>
                <a:schemeClr val="accent1">
                  <a:lumMod val="50000"/>
                </a:schemeClr>
              </a:solidFill>
              <a:latin typeface="Arial" panose="020B0604020202020204" pitchFamily="34" charset="0"/>
              <a:cs typeface="Arial" panose="020B0604020202020204" pitchFamily="34" charset="0"/>
            </a:rPr>
            <a:t>UKRPIF £129M</a:t>
          </a:r>
        </a:p>
      </dsp:txBody>
      <dsp:txXfrm>
        <a:off x="4394607" y="2495050"/>
        <a:ext cx="1210061" cy="605030"/>
      </dsp:txXfrm>
    </dsp:sp>
    <dsp:sp modelId="{7237C824-0C7D-4D1B-8925-8C842F45D3D6}">
      <dsp:nvSpPr>
        <dsp:cNvPr id="0" name=""/>
        <dsp:cNvSpPr/>
      </dsp:nvSpPr>
      <dsp:spPr>
        <a:xfrm>
          <a:off x="4697122"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Proposals from universities</a:t>
          </a:r>
        </a:p>
      </dsp:txBody>
      <dsp:txXfrm>
        <a:off x="4697122" y="3354194"/>
        <a:ext cx="1210061" cy="605030"/>
      </dsp:txXfrm>
    </dsp:sp>
    <dsp:sp modelId="{1B957AD6-2155-43A8-94BF-4FC68D7116F8}">
      <dsp:nvSpPr>
        <dsp:cNvPr id="0" name=""/>
        <dsp:cNvSpPr/>
      </dsp:nvSpPr>
      <dsp:spPr>
        <a:xfrm>
          <a:off x="5858782" y="2495050"/>
          <a:ext cx="1210061" cy="605030"/>
        </a:xfrm>
        <a:prstGeom prst="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Major Projects</a:t>
          </a:r>
        </a:p>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175M</a:t>
          </a:r>
        </a:p>
      </dsp:txBody>
      <dsp:txXfrm>
        <a:off x="5858782" y="2495050"/>
        <a:ext cx="1210061" cy="605030"/>
      </dsp:txXfrm>
    </dsp:sp>
    <dsp:sp modelId="{1ED56033-F883-4E3A-A4A8-4DAD05579003}">
      <dsp:nvSpPr>
        <dsp:cNvPr id="0" name=""/>
        <dsp:cNvSpPr/>
      </dsp:nvSpPr>
      <dsp:spPr>
        <a:xfrm>
          <a:off x="6161297"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Ad Hoc approved by ExCo/ DSIT/ HMG</a:t>
          </a:r>
        </a:p>
      </dsp:txBody>
      <dsp:txXfrm>
        <a:off x="6161297" y="3354194"/>
        <a:ext cx="1210061" cy="605030"/>
      </dsp:txXfrm>
    </dsp:sp>
    <dsp:sp modelId="{CBC52E5B-5592-4BC4-AF93-0EF2DB42F23E}">
      <dsp:nvSpPr>
        <dsp:cNvPr id="0" name=""/>
        <dsp:cNvSpPr/>
      </dsp:nvSpPr>
      <dsp:spPr>
        <a:xfrm>
          <a:off x="8483539" y="1635906"/>
          <a:ext cx="1817246" cy="605030"/>
        </a:xfrm>
        <a:prstGeom prst="rect">
          <a:avLst/>
        </a:prstGeom>
        <a:solidFill>
          <a:schemeClr val="accent6">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0" i="0" kern="1200">
              <a:latin typeface="Arial" panose="020B0604020202020204" pitchFamily="34" charset="0"/>
              <a:cs typeface="Arial" panose="020B0604020202020204" pitchFamily="34" charset="0"/>
            </a:rPr>
            <a:t>Direct allocations to Research Councils and Research England</a:t>
          </a:r>
        </a:p>
      </dsp:txBody>
      <dsp:txXfrm>
        <a:off x="8483539" y="1635906"/>
        <a:ext cx="1817246" cy="605030"/>
      </dsp:txXfrm>
    </dsp:sp>
    <dsp:sp modelId="{9AF6A88F-EE94-4477-A56D-AED8092ED27F}">
      <dsp:nvSpPr>
        <dsp:cNvPr id="0" name=""/>
        <dsp:cNvSpPr/>
      </dsp:nvSpPr>
      <dsp:spPr>
        <a:xfrm>
          <a:off x="7322957" y="2495050"/>
          <a:ext cx="1210061" cy="605030"/>
        </a:xfrm>
        <a:prstGeom prst="rect">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6">
                  <a:lumMod val="50000"/>
                </a:schemeClr>
              </a:solidFill>
              <a:latin typeface="Arial" panose="020B0604020202020204" pitchFamily="34" charset="0"/>
              <a:cs typeface="Arial" panose="020B0604020202020204" pitchFamily="34" charset="0"/>
            </a:rPr>
            <a:t>WCL - Research Councils</a:t>
          </a:r>
        </a:p>
        <a:p>
          <a:pPr marL="0" lvl="0" indent="0" algn="ctr" defTabSz="533400">
            <a:lnSpc>
              <a:spcPct val="90000"/>
            </a:lnSpc>
            <a:spcBef>
              <a:spcPct val="0"/>
            </a:spcBef>
            <a:spcAft>
              <a:spcPct val="35000"/>
            </a:spcAft>
            <a:buNone/>
          </a:pPr>
          <a:r>
            <a:rPr lang="en-GB" sz="1200" kern="1200">
              <a:solidFill>
                <a:schemeClr val="accent6">
                  <a:lumMod val="50000"/>
                </a:schemeClr>
              </a:solidFill>
              <a:latin typeface="Arial" panose="020B0604020202020204" pitchFamily="34" charset="0"/>
              <a:cs typeface="Arial" panose="020B0604020202020204" pitchFamily="34" charset="0"/>
            </a:rPr>
            <a:t>£1,070M</a:t>
          </a:r>
        </a:p>
      </dsp:txBody>
      <dsp:txXfrm>
        <a:off x="7322957" y="2495050"/>
        <a:ext cx="1210061" cy="605030"/>
      </dsp:txXfrm>
    </dsp:sp>
    <dsp:sp modelId="{90AF18D2-3CE1-438D-8409-414FDC7350A1}">
      <dsp:nvSpPr>
        <dsp:cNvPr id="0" name=""/>
        <dsp:cNvSpPr/>
      </dsp:nvSpPr>
      <dsp:spPr>
        <a:xfrm>
          <a:off x="7625472"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Calls and allocations to universities and institutes</a:t>
          </a:r>
        </a:p>
      </dsp:txBody>
      <dsp:txXfrm>
        <a:off x="7625472" y="3354194"/>
        <a:ext cx="1210061" cy="605030"/>
      </dsp:txXfrm>
    </dsp:sp>
    <dsp:sp modelId="{2E9C83DA-49D1-4608-96BB-CFEA977C1097}">
      <dsp:nvSpPr>
        <dsp:cNvPr id="0" name=""/>
        <dsp:cNvSpPr/>
      </dsp:nvSpPr>
      <dsp:spPr>
        <a:xfrm>
          <a:off x="8787132" y="2495050"/>
          <a:ext cx="1210061" cy="605030"/>
        </a:xfrm>
        <a:prstGeom prst="rect">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6">
                  <a:lumMod val="50000"/>
                </a:schemeClr>
              </a:solidFill>
              <a:latin typeface="Arial" panose="020B0604020202020204" pitchFamily="34" charset="0"/>
              <a:cs typeface="Arial" panose="020B0604020202020204" pitchFamily="34" charset="0"/>
            </a:rPr>
            <a:t>International Subscriptions</a:t>
          </a:r>
          <a:r>
            <a:rPr lang="en-GB" sz="1200" kern="1200" baseline="30000">
              <a:solidFill>
                <a:schemeClr val="accent6">
                  <a:lumMod val="50000"/>
                </a:schemeClr>
              </a:solidFill>
              <a:latin typeface="Arial" panose="020B0604020202020204" pitchFamily="34" charset="0"/>
              <a:cs typeface="Arial" panose="020B0604020202020204" pitchFamily="34" charset="0"/>
            </a:rPr>
            <a:t>1</a:t>
          </a:r>
          <a:endParaRPr lang="en-GB" sz="1200" kern="1200">
            <a:solidFill>
              <a:schemeClr val="accent6">
                <a:lumMod val="50000"/>
              </a:schemeClr>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GB" sz="1200" kern="1200">
              <a:solidFill>
                <a:schemeClr val="accent6">
                  <a:lumMod val="50000"/>
                </a:schemeClr>
              </a:solidFill>
              <a:latin typeface="Arial" panose="020B0604020202020204" pitchFamily="34" charset="0"/>
              <a:cs typeface="Arial" panose="020B0604020202020204" pitchFamily="34" charset="0"/>
            </a:rPr>
            <a:t>£145M</a:t>
          </a:r>
        </a:p>
      </dsp:txBody>
      <dsp:txXfrm>
        <a:off x="8787132" y="2495050"/>
        <a:ext cx="1210061" cy="605030"/>
      </dsp:txXfrm>
    </dsp:sp>
    <dsp:sp modelId="{D5BD4555-9442-4405-BDF8-B05DE1D5B039}">
      <dsp:nvSpPr>
        <dsp:cNvPr id="0" name=""/>
        <dsp:cNvSpPr/>
      </dsp:nvSpPr>
      <dsp:spPr>
        <a:xfrm>
          <a:off x="9089647"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International science projects</a:t>
          </a:r>
        </a:p>
      </dsp:txBody>
      <dsp:txXfrm>
        <a:off x="9089647" y="3354194"/>
        <a:ext cx="1210061" cy="605030"/>
      </dsp:txXfrm>
    </dsp:sp>
    <dsp:sp modelId="{E5E37977-981F-4DB2-ACCB-205F955D3CA6}">
      <dsp:nvSpPr>
        <dsp:cNvPr id="0" name=""/>
        <dsp:cNvSpPr/>
      </dsp:nvSpPr>
      <dsp:spPr>
        <a:xfrm>
          <a:off x="10251307" y="2495050"/>
          <a:ext cx="1210061" cy="605030"/>
        </a:xfrm>
        <a:prstGeom prst="rect">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6">
                  <a:lumMod val="50000"/>
                </a:schemeClr>
              </a:solidFill>
              <a:latin typeface="Arial" panose="020B0604020202020204" pitchFamily="34" charset="0"/>
              <a:cs typeface="Arial" panose="020B0604020202020204" pitchFamily="34" charset="0"/>
            </a:rPr>
            <a:t>WCL – Formula Capital </a:t>
          </a:r>
        </a:p>
        <a:p>
          <a:pPr marL="0" lvl="0" indent="0" algn="ctr" defTabSz="533400">
            <a:lnSpc>
              <a:spcPct val="90000"/>
            </a:lnSpc>
            <a:spcBef>
              <a:spcPct val="0"/>
            </a:spcBef>
            <a:spcAft>
              <a:spcPct val="35000"/>
            </a:spcAft>
            <a:buNone/>
          </a:pPr>
          <a:r>
            <a:rPr lang="en-GB" sz="1200" kern="1200">
              <a:solidFill>
                <a:schemeClr val="accent6">
                  <a:lumMod val="50000"/>
                </a:schemeClr>
              </a:solidFill>
              <a:latin typeface="Arial" panose="020B0604020202020204" pitchFamily="34" charset="0"/>
              <a:cs typeface="Arial" panose="020B0604020202020204" pitchFamily="34" charset="0"/>
            </a:rPr>
            <a:t>£679M</a:t>
          </a:r>
          <a:endParaRPr lang="en-GB" sz="1200" kern="1200">
            <a:solidFill>
              <a:schemeClr val="accent6">
                <a:lumMod val="50000"/>
              </a:schemeClr>
            </a:solidFill>
          </a:endParaRPr>
        </a:p>
      </dsp:txBody>
      <dsp:txXfrm>
        <a:off x="10251307" y="2495050"/>
        <a:ext cx="1210061" cy="605030"/>
      </dsp:txXfrm>
    </dsp:sp>
    <dsp:sp modelId="{067640AB-CD5B-414A-B7F5-43076629ACB7}">
      <dsp:nvSpPr>
        <dsp:cNvPr id="0" name=""/>
        <dsp:cNvSpPr/>
      </dsp:nvSpPr>
      <dsp:spPr>
        <a:xfrm>
          <a:off x="10553822" y="3354194"/>
          <a:ext cx="1210061" cy="605030"/>
        </a:xfrm>
        <a:prstGeom prst="rect">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accent1">
                  <a:lumMod val="50000"/>
                </a:schemeClr>
              </a:solidFill>
              <a:latin typeface="Arial" panose="020B0604020202020204" pitchFamily="34" charset="0"/>
              <a:cs typeface="Arial" panose="020B0604020202020204" pitchFamily="34" charset="0"/>
            </a:rPr>
            <a:t>Allocated to universities </a:t>
          </a:r>
          <a:br>
            <a:rPr lang="en-GB" sz="1200" kern="1200">
              <a:solidFill>
                <a:schemeClr val="accent1">
                  <a:lumMod val="50000"/>
                </a:schemeClr>
              </a:solidFill>
              <a:latin typeface="Arial" panose="020B0604020202020204" pitchFamily="34" charset="0"/>
              <a:cs typeface="Arial" panose="020B0604020202020204" pitchFamily="34" charset="0"/>
            </a:rPr>
          </a:br>
          <a:r>
            <a:rPr lang="en-GB" sz="1200" kern="1200">
              <a:solidFill>
                <a:schemeClr val="accent1">
                  <a:lumMod val="50000"/>
                </a:schemeClr>
              </a:solidFill>
              <a:latin typeface="Arial" panose="020B0604020202020204" pitchFamily="34" charset="0"/>
              <a:cs typeface="Arial" panose="020B0604020202020204" pitchFamily="34" charset="0"/>
            </a:rPr>
            <a:t>(and others)</a:t>
          </a:r>
          <a:endParaRPr lang="en-GB" sz="1200" kern="1200">
            <a:solidFill>
              <a:schemeClr val="accent1">
                <a:lumMod val="50000"/>
              </a:schemeClr>
            </a:solidFill>
          </a:endParaRPr>
        </a:p>
      </dsp:txBody>
      <dsp:txXfrm>
        <a:off x="10553822" y="3354194"/>
        <a:ext cx="1210061" cy="60503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90891A3-B3BF-EE4A-B72F-9DC5677D832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5CCA953-6AA9-784D-AA53-0836BF688D6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5219C7E-7B24-274E-8CB7-52C4522250E3}" type="datetimeFigureOut">
              <a:rPr lang="en-US" smtClean="0"/>
              <a:t>7/1/2025</a:t>
            </a:fld>
            <a:endParaRPr lang="en-US"/>
          </a:p>
        </p:txBody>
      </p:sp>
      <p:sp>
        <p:nvSpPr>
          <p:cNvPr id="4" name="Footer Placeholder 3">
            <a:extLst>
              <a:ext uri="{FF2B5EF4-FFF2-40B4-BE49-F238E27FC236}">
                <a16:creationId xmlns:a16="http://schemas.microsoft.com/office/drawing/2014/main" id="{C1F7EFAB-CFCF-A74D-B725-295B520F7A8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F8AB5E6-26B5-1D41-A451-AE363F4C6B0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2741029-40F4-D847-893E-D265EE59D33B}" type="slidenum">
              <a:rPr lang="en-US" smtClean="0"/>
              <a:t>‹#›</a:t>
            </a:fld>
            <a:endParaRPr lang="en-US"/>
          </a:p>
        </p:txBody>
      </p:sp>
    </p:spTree>
    <p:extLst>
      <p:ext uri="{BB962C8B-B14F-4D97-AF65-F5344CB8AC3E}">
        <p14:creationId xmlns:p14="http://schemas.microsoft.com/office/powerpoint/2010/main" val="8391450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Regular"/>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Regular"/>
              </a:defRPr>
            </a:lvl1pPr>
          </a:lstStyle>
          <a:p>
            <a:fld id="{48FE9A4A-3203-D544-A0F2-9B4A7A1B021E}" type="datetimeFigureOut">
              <a:rPr lang="en-US" smtClean="0"/>
              <a:pPr/>
              <a:t>7/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Regular"/>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Regular"/>
              </a:defRPr>
            </a:lvl1pPr>
          </a:lstStyle>
          <a:p>
            <a:fld id="{C0F3BA1D-A00F-DB41-84DA-BE26C4853B35}" type="slidenum">
              <a:rPr lang="en-US" smtClean="0"/>
              <a:pPr/>
              <a:t>‹#›</a:t>
            </a:fld>
            <a:endParaRPr lang="en-US"/>
          </a:p>
        </p:txBody>
      </p:sp>
    </p:spTree>
    <p:extLst>
      <p:ext uri="{BB962C8B-B14F-4D97-AF65-F5344CB8AC3E}">
        <p14:creationId xmlns:p14="http://schemas.microsoft.com/office/powerpoint/2010/main" val="661868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Regular"/>
        <a:ea typeface="+mn-ea"/>
        <a:cs typeface="+mn-cs"/>
      </a:defRPr>
    </a:lvl1pPr>
    <a:lvl2pPr marL="457200" algn="l" defTabSz="914400" rtl="0" eaLnBrk="1" latinLnBrk="0" hangingPunct="1">
      <a:defRPr sz="1200" b="0" i="0" kern="1200">
        <a:solidFill>
          <a:schemeClr val="tx1"/>
        </a:solidFill>
        <a:latin typeface="Arial Regular"/>
        <a:ea typeface="+mn-ea"/>
        <a:cs typeface="+mn-cs"/>
      </a:defRPr>
    </a:lvl2pPr>
    <a:lvl3pPr marL="914400" algn="l" defTabSz="914400" rtl="0" eaLnBrk="1" latinLnBrk="0" hangingPunct="1">
      <a:defRPr sz="1200" b="0" i="0" kern="1200">
        <a:solidFill>
          <a:schemeClr val="tx1"/>
        </a:solidFill>
        <a:latin typeface="Arial Regular"/>
        <a:ea typeface="+mn-ea"/>
        <a:cs typeface="+mn-cs"/>
      </a:defRPr>
    </a:lvl3pPr>
    <a:lvl4pPr marL="1371600" algn="l" defTabSz="914400" rtl="0" eaLnBrk="1" latinLnBrk="0" hangingPunct="1">
      <a:defRPr sz="1200" b="0" i="0" kern="1200">
        <a:solidFill>
          <a:schemeClr val="tx1"/>
        </a:solidFill>
        <a:latin typeface="Arial Regular"/>
        <a:ea typeface="+mn-ea"/>
        <a:cs typeface="+mn-cs"/>
      </a:defRPr>
    </a:lvl4pPr>
    <a:lvl5pPr marL="1828800" algn="l" defTabSz="914400" rtl="0" eaLnBrk="1" latinLnBrk="0" hangingPunct="1">
      <a:defRPr sz="1200" b="0" i="0" kern="1200">
        <a:solidFill>
          <a:schemeClr val="tx1"/>
        </a:solidFill>
        <a:latin typeface="Arial Regular"/>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edit the background image, select ‘Format’ from the PowerPoint menu and ‘Slide Background’ from the drop-down menu. Within the new list of options that appears on the right of the screen, select the ‘File’ button under ‘Insert picture from’ and select your image from your file browser. </a:t>
            </a:r>
            <a:r>
              <a:rPr lang="en-GB" sz="1200" b="0" i="0" kern="1200" dirty="0">
                <a:solidFill>
                  <a:schemeClr val="tx1"/>
                </a:solidFill>
                <a:effectLst/>
                <a:latin typeface="Arial Regular"/>
                <a:ea typeface="+mn-ea"/>
                <a:cs typeface="+mn-cs"/>
              </a:rPr>
              <a:t>Please remove or amend the image credit if you are using a different image to the one provided.</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3BA1D-A00F-DB41-84DA-BE26C4853B35}"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937672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abstract pattern can be removed or repositioned if required. Be careful to ‘Send to Back’ so that it does not obscure any important information.</a:t>
            </a:r>
          </a:p>
          <a:p>
            <a:endParaRPr lang="en-US"/>
          </a:p>
        </p:txBody>
      </p:sp>
      <p:sp>
        <p:nvSpPr>
          <p:cNvPr id="4" name="Slide Number Placeholder 3"/>
          <p:cNvSpPr>
            <a:spLocks noGrp="1"/>
          </p:cNvSpPr>
          <p:nvPr>
            <p:ph type="sldNum" sz="quarter" idx="5"/>
          </p:nvPr>
        </p:nvSpPr>
        <p:spPr/>
        <p:txBody>
          <a:bodyPr/>
          <a:lstStyle/>
          <a:p>
            <a:fld id="{C0F3BA1D-A00F-DB41-84DA-BE26C4853B35}" type="slidenum">
              <a:rPr lang="en-US" smtClean="0"/>
              <a:t>7</a:t>
            </a:fld>
            <a:endParaRPr lang="en-US"/>
          </a:p>
        </p:txBody>
      </p:sp>
    </p:spTree>
    <p:extLst>
      <p:ext uri="{BB962C8B-B14F-4D97-AF65-F5344CB8AC3E}">
        <p14:creationId xmlns:p14="http://schemas.microsoft.com/office/powerpoint/2010/main" val="3836229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3BA1D-A00F-DB41-84DA-BE26C4853B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127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3BA1D-A00F-DB41-84DA-BE26C4853B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3649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F528D-D715-C7B5-C8D8-F82943393A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42749C-D5AD-1267-62C1-FD5B6390E57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9BBC70-D4E1-56D3-8484-CD6548FBAE3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abstract pattern can be removed or repositioned if required. Be careful to ‘Send to Back’ so that it does not obscure any important information.</a:t>
            </a:r>
          </a:p>
          <a:p>
            <a:endParaRPr lang="en-US"/>
          </a:p>
        </p:txBody>
      </p:sp>
      <p:sp>
        <p:nvSpPr>
          <p:cNvPr id="4" name="Slide Number Placeholder 3">
            <a:extLst>
              <a:ext uri="{FF2B5EF4-FFF2-40B4-BE49-F238E27FC236}">
                <a16:creationId xmlns:a16="http://schemas.microsoft.com/office/drawing/2014/main" id="{1CEE5563-DC72-72FF-31FF-C928F5B7AFAC}"/>
              </a:ext>
            </a:extLst>
          </p:cNvPr>
          <p:cNvSpPr>
            <a:spLocks noGrp="1"/>
          </p:cNvSpPr>
          <p:nvPr>
            <p:ph type="sldNum" sz="quarter" idx="5"/>
          </p:nvPr>
        </p:nvSpPr>
        <p:spPr/>
        <p:txBody>
          <a:bodyPr/>
          <a:lstStyle/>
          <a:p>
            <a:fld id="{C0F3BA1D-A00F-DB41-84DA-BE26C4853B35}" type="slidenum">
              <a:rPr lang="en-US" smtClean="0"/>
              <a:t>16</a:t>
            </a:fld>
            <a:endParaRPr lang="en-US"/>
          </a:p>
        </p:txBody>
      </p:sp>
    </p:spTree>
    <p:extLst>
      <p:ext uri="{BB962C8B-B14F-4D97-AF65-F5344CB8AC3E}">
        <p14:creationId xmlns:p14="http://schemas.microsoft.com/office/powerpoint/2010/main" val="26811707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3BA1D-A00F-DB41-84DA-BE26C4853B35}" type="slidenum">
              <a:rPr lang="en-US" smtClean="0"/>
              <a:pPr/>
              <a:t>19</a:t>
            </a:fld>
            <a:endParaRPr lang="en-US"/>
          </a:p>
        </p:txBody>
      </p:sp>
    </p:spTree>
    <p:extLst>
      <p:ext uri="{BB962C8B-B14F-4D97-AF65-F5344CB8AC3E}">
        <p14:creationId xmlns:p14="http://schemas.microsoft.com/office/powerpoint/2010/main" val="15046371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9F20B4-9E8D-2A2A-6E23-202E0028C8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A33D07-8036-40BD-C575-F3F59CC0DC5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ED5558F-1951-A312-DF71-1B340508D46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abstract pattern can be removed or repositioned if required. Be careful to ‘Send to Back’ so that it does not obscure any important information.</a:t>
            </a:r>
          </a:p>
          <a:p>
            <a:endParaRPr lang="en-US"/>
          </a:p>
        </p:txBody>
      </p:sp>
      <p:sp>
        <p:nvSpPr>
          <p:cNvPr id="4" name="Slide Number Placeholder 3">
            <a:extLst>
              <a:ext uri="{FF2B5EF4-FFF2-40B4-BE49-F238E27FC236}">
                <a16:creationId xmlns:a16="http://schemas.microsoft.com/office/drawing/2014/main" id="{8EDF283C-ECD0-F9BC-EA9C-A756185611DF}"/>
              </a:ext>
            </a:extLst>
          </p:cNvPr>
          <p:cNvSpPr>
            <a:spLocks noGrp="1"/>
          </p:cNvSpPr>
          <p:nvPr>
            <p:ph type="sldNum" sz="quarter" idx="5"/>
          </p:nvPr>
        </p:nvSpPr>
        <p:spPr/>
        <p:txBody>
          <a:bodyPr/>
          <a:lstStyle/>
          <a:p>
            <a:fld id="{C0F3BA1D-A00F-DB41-84DA-BE26C4853B35}" type="slidenum">
              <a:rPr lang="en-US" smtClean="0"/>
              <a:t>20</a:t>
            </a:fld>
            <a:endParaRPr lang="en-US"/>
          </a:p>
        </p:txBody>
      </p:sp>
    </p:spTree>
    <p:extLst>
      <p:ext uri="{BB962C8B-B14F-4D97-AF65-F5344CB8AC3E}">
        <p14:creationId xmlns:p14="http://schemas.microsoft.com/office/powerpoint/2010/main" val="3332305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3BA1D-A00F-DB41-84DA-BE26C4853B35}" type="slidenum">
              <a:rPr lang="en-US" smtClean="0"/>
              <a:pPr/>
              <a:t>22</a:t>
            </a:fld>
            <a:endParaRPr lang="en-US"/>
          </a:p>
        </p:txBody>
      </p:sp>
    </p:spTree>
    <p:extLst>
      <p:ext uri="{BB962C8B-B14F-4D97-AF65-F5344CB8AC3E}">
        <p14:creationId xmlns:p14="http://schemas.microsoft.com/office/powerpoint/2010/main" val="998620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abstract pattern can be removed or repositioned if required. Be careful to ‘Send to Back’ so that it does not obscure any important informa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3BA1D-A00F-DB41-84DA-BE26C4853B35}" type="slidenum">
              <a:rPr kumimoji="0" lang="en-US"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25004638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CAE69-592D-6D48-8D37-1AF709B0432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ECE34F9-FD31-954C-90A9-25364BF3A3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1381E6B-7D41-F84E-B286-61EBCE0535F6}"/>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73CE29A8-E8C2-784C-9495-F0D437E955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4039A4-CB11-B346-94E7-20D66FCAC610}"/>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293706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39B2-85B2-8A4B-8008-EE871C7A57D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62A1684-4147-4E4A-BE1D-647E280F681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E7061D-97DA-5D45-A717-D8A7EEF03D1B}"/>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F08C7700-26C6-804B-9BEF-4E4886CEB3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8D442D-6AED-C347-A737-1092964EAE82}"/>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7491457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F360F0-A2C2-BC4E-AC8F-28FB5C10E34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35D444D-2CB3-C84E-AFAB-6E36673058E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1CCCC5E-1493-D445-AD8B-A3A5697A2531}"/>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0036B37B-4148-1847-B7D0-E506A8B43B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948933-1B9F-6140-A9E4-6AC0E5BF3C6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600670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12667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51A27-3A46-6548-A658-AF078FEDCD4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053235BA-4644-F742-B68A-58857ABFA7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A3258F6-501F-DF4D-BC61-AD3F27C1AF26}"/>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5" name="Footer Placeholder 4">
            <a:extLst>
              <a:ext uri="{FF2B5EF4-FFF2-40B4-BE49-F238E27FC236}">
                <a16:creationId xmlns:a16="http://schemas.microsoft.com/office/drawing/2014/main" id="{B851A04B-89FD-BB4A-BE38-11423AD0E8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282FEF-A672-D74A-818C-FD7E25F8DB7A}"/>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20703971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7BE78-2DAE-784C-8BDD-1ACFE932502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B5A6CBD-752B-C54A-9472-476012303DC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7EEB16F-2AF7-AF4F-BAC0-66A9F203FCDF}"/>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5" name="Footer Placeholder 4">
            <a:extLst>
              <a:ext uri="{FF2B5EF4-FFF2-40B4-BE49-F238E27FC236}">
                <a16:creationId xmlns:a16="http://schemas.microsoft.com/office/drawing/2014/main" id="{23C97A28-8E57-8849-B304-4BD747CD24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F34E1A-BF2D-3F43-B5E9-97AA6F77E6FA}"/>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32093339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4472D-C6B8-F544-BCBA-6D34B6B81A3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90E73B32-686A-E649-86AB-3479FB66E9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5FF5A8D1-9377-1742-BBD6-21C94A27ED6A}"/>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5" name="Footer Placeholder 4">
            <a:extLst>
              <a:ext uri="{FF2B5EF4-FFF2-40B4-BE49-F238E27FC236}">
                <a16:creationId xmlns:a16="http://schemas.microsoft.com/office/drawing/2014/main" id="{B2D9E8E3-692C-EB47-AE32-1D59637AE6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C299E9-66F9-CC49-AF60-86ECA79F2AA8}"/>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26997617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E006E-3602-3240-801F-364000B45F1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C5A57B7-EF2C-3044-B58B-175EDDFEAF5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D875FEF-E26D-7D4C-9207-D0510ACF4D4A}"/>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130407D9-439C-464B-B83C-AD392B6C6CF6}"/>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6" name="Footer Placeholder 5">
            <a:extLst>
              <a:ext uri="{FF2B5EF4-FFF2-40B4-BE49-F238E27FC236}">
                <a16:creationId xmlns:a16="http://schemas.microsoft.com/office/drawing/2014/main" id="{2AFBC8E8-C96E-A644-AFCF-9A484B2E303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4BDBDA-2F87-E140-8669-57B9B7121EFC}"/>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11562972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C6AA6-F7E1-E941-BB92-88330D63E91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4413033-E229-2848-A214-6BD8D631DB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BB6FF0D-44BC-1845-ADBF-A1BDA30F40C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4E43DBC9-6028-9A46-8CF4-7F90F03B2D4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4B30AFFD-F8E0-FA48-8C05-C1EA3B817498}"/>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7A2EF13E-80AE-2F4B-99DD-2E1E85DF1FD7}"/>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8" name="Footer Placeholder 7">
            <a:extLst>
              <a:ext uri="{FF2B5EF4-FFF2-40B4-BE49-F238E27FC236}">
                <a16:creationId xmlns:a16="http://schemas.microsoft.com/office/drawing/2014/main" id="{265D6405-91B4-B742-BE0F-74FC84097E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47248F-EB72-3A40-8C00-44A631D3466B}"/>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27144871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29E50-BA89-B14D-B9B0-2C2D41422DF0}"/>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3B63D20A-A613-5C4C-A2D9-3F3716F248FE}"/>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4" name="Footer Placeholder 3">
            <a:extLst>
              <a:ext uri="{FF2B5EF4-FFF2-40B4-BE49-F238E27FC236}">
                <a16:creationId xmlns:a16="http://schemas.microsoft.com/office/drawing/2014/main" id="{2B434657-A7D5-C94F-8190-795F9A70A36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7F68932-BF18-6D41-AAA1-AA62712FCFF6}"/>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4276663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504FA24-B38B-8E42-AD9A-46A8FE7451A1}"/>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3" name="Footer Placeholder 2">
            <a:extLst>
              <a:ext uri="{FF2B5EF4-FFF2-40B4-BE49-F238E27FC236}">
                <a16:creationId xmlns:a16="http://schemas.microsoft.com/office/drawing/2014/main" id="{845B9E2C-DF1C-3348-A7D0-868403EF107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0C3B7E-3AE4-3248-816B-42AEABE3282A}"/>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30162979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EF2C8-66D4-EF4A-AAFD-01BC50FA7EA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5AD9361-0DDC-EE4E-A740-F93892B3693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AD9F65C-3FCD-8B46-A28D-257FA8F28C4F}"/>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1A88163C-7F3C-9B44-A028-C4886506FC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47796D-644C-B740-8C2E-356ECAB6D30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0239290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46E7B-2B21-4349-A5E8-F51BDA4FDD7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34800EC2-20B6-564C-B497-8BC94D18A0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A3D7AB7-03F9-CB44-8B65-1FA6515812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8543C11-7DE1-A040-A366-66CFE0770690}"/>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6" name="Footer Placeholder 5">
            <a:extLst>
              <a:ext uri="{FF2B5EF4-FFF2-40B4-BE49-F238E27FC236}">
                <a16:creationId xmlns:a16="http://schemas.microsoft.com/office/drawing/2014/main" id="{F6F8A39E-CEDC-5D45-B7A7-427E12ADCB6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53EE87-F227-0641-991C-BC2504CBAFD1}"/>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3455850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36682-8C5D-5446-8420-6965F374F31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A959B58-CA83-2541-BFBB-72A596B18F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269452C-75B1-A440-9A3E-16096BEAA1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03ABED3-0D2E-C24F-AB08-D6551BC9B18D}"/>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6" name="Footer Placeholder 5">
            <a:extLst>
              <a:ext uri="{FF2B5EF4-FFF2-40B4-BE49-F238E27FC236}">
                <a16:creationId xmlns:a16="http://schemas.microsoft.com/office/drawing/2014/main" id="{9EDB2E6C-CD2C-CD47-A952-D2C835A6B46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CFB704-2EF3-024E-A7B5-B19083B6B48F}"/>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34004491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64499-2F4D-F54B-B034-112AA6F67809}"/>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182BD32-AEFC-9C43-9EC4-4770BA5A5BB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F9B193B-4C5C-8349-A401-B84C817E4DEA}"/>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5" name="Footer Placeholder 4">
            <a:extLst>
              <a:ext uri="{FF2B5EF4-FFF2-40B4-BE49-F238E27FC236}">
                <a16:creationId xmlns:a16="http://schemas.microsoft.com/office/drawing/2014/main" id="{90025579-668C-6E4A-9506-5AD2E00C52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093645-915D-A945-A086-86CD13508646}"/>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24201992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D6932E-B973-1440-8C8A-A20FC31CE298}"/>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3C55602-66E9-6A44-8E3B-7944447C112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4D233EE-C4AC-3944-8F41-167DE075E4B3}"/>
              </a:ext>
            </a:extLst>
          </p:cNvPr>
          <p:cNvSpPr>
            <a:spLocks noGrp="1"/>
          </p:cNvSpPr>
          <p:nvPr>
            <p:ph type="dt" sz="half" idx="10"/>
          </p:nvPr>
        </p:nvSpPr>
        <p:spPr/>
        <p:txBody>
          <a:bodyPr/>
          <a:lstStyle/>
          <a:p>
            <a:fld id="{388F4130-B4A6-894D-B490-953E3F85E7B4}" type="datetimeFigureOut">
              <a:rPr lang="en-US" smtClean="0"/>
              <a:t>7/1/2025</a:t>
            </a:fld>
            <a:endParaRPr lang="en-US"/>
          </a:p>
        </p:txBody>
      </p:sp>
      <p:sp>
        <p:nvSpPr>
          <p:cNvPr id="5" name="Footer Placeholder 4">
            <a:extLst>
              <a:ext uri="{FF2B5EF4-FFF2-40B4-BE49-F238E27FC236}">
                <a16:creationId xmlns:a16="http://schemas.microsoft.com/office/drawing/2014/main" id="{3FFDC9E0-7443-FC45-B98E-6EEECFAD31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0199EE-E38E-C842-82B0-22CAA11BEA07}"/>
              </a:ext>
            </a:extLst>
          </p:cNvPr>
          <p:cNvSpPr>
            <a:spLocks noGrp="1"/>
          </p:cNvSpPr>
          <p:nvPr>
            <p:ph type="sldNum" sz="quarter" idx="12"/>
          </p:nvPr>
        </p:nvSpPr>
        <p:spPr/>
        <p:txBody>
          <a:bodyPr/>
          <a:lstStyle/>
          <a:p>
            <a:fld id="{E4036594-A73E-E649-A4D8-85AD0E0F546E}" type="slidenum">
              <a:rPr lang="en-US" smtClean="0"/>
              <a:t>‹#›</a:t>
            </a:fld>
            <a:endParaRPr lang="en-US"/>
          </a:p>
        </p:txBody>
      </p:sp>
    </p:spTree>
    <p:extLst>
      <p:ext uri="{BB962C8B-B14F-4D97-AF65-F5344CB8AC3E}">
        <p14:creationId xmlns:p14="http://schemas.microsoft.com/office/powerpoint/2010/main" val="20977073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CAE69-592D-6D48-8D37-1AF709B0432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ECE34F9-FD31-954C-90A9-25364BF3A3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1381E6B-7D41-F84E-B286-61EBCE0535F6}"/>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73CE29A8-E8C2-784C-9495-F0D437E955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4039A4-CB11-B346-94E7-20D66FCAC610}"/>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6363703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EF2C8-66D4-EF4A-AAFD-01BC50FA7EA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5AD9361-0DDC-EE4E-A740-F93892B3693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AD9F65C-3FCD-8B46-A28D-257FA8F28C4F}"/>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1A88163C-7F3C-9B44-A028-C4886506FC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47796D-644C-B740-8C2E-356ECAB6D30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453743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1CB58-4758-1C42-8DAA-2AAA3F98FED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AB7D025-4B39-8D45-811F-5B1E30D5E7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42683CA-90A4-5E49-AA2C-3DCED63A8EBC}"/>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97E1DED1-CD68-AC4C-ABC6-F8EEE292B7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83341-F52D-D14B-A417-6C66E51D03C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3914999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351C6-2D17-C14E-8DC1-418227C6986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A0F791E-6CBD-2747-86C9-A91E120F506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76279C1-F68E-7E4B-B565-93EC951F8AF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ACD866C6-99FF-2F4A-936E-613FC9DB3BB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45D0DB7C-BDCE-D146-9584-809FFC25DD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FD1283-F062-2E4B-8DD8-A11DB5311AF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1716614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DCD01-DE9B-A849-A35D-9F761E7A293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B213394-3DB5-5A4C-965B-35CC3D1F29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80C87B7-015A-EE48-9BA2-392DACDC00E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3A97E02-FB0B-A048-9274-06CF174361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ADCF4DD-E248-C543-910E-BAFFB18831D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8C573B90-35AD-3E43-B0CA-8BA2F2BBBC6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8" name="Footer Placeholder 7">
            <a:extLst>
              <a:ext uri="{FF2B5EF4-FFF2-40B4-BE49-F238E27FC236}">
                <a16:creationId xmlns:a16="http://schemas.microsoft.com/office/drawing/2014/main" id="{126E709E-0F2B-524A-BB14-376202A2698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8CED43-5180-C24B-8196-24914383E7BA}"/>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9815096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E4D60-AC0C-044F-8925-BE12978C5543}"/>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080422E-D871-AC4C-A0FF-BA911179FDAA}"/>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4" name="Footer Placeholder 3">
            <a:extLst>
              <a:ext uri="{FF2B5EF4-FFF2-40B4-BE49-F238E27FC236}">
                <a16:creationId xmlns:a16="http://schemas.microsoft.com/office/drawing/2014/main" id="{3FA61A44-CE7E-2E47-A2C7-EFD19C4D40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A8DBD8-7206-5A45-8701-1C5BFDD6468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075958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1CB58-4758-1C42-8DAA-2AAA3F98FED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AB7D025-4B39-8D45-811F-5B1E30D5E7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42683CA-90A4-5E49-AA2C-3DCED63A8EBC}"/>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97E1DED1-CD68-AC4C-ABC6-F8EEE292B7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83341-F52D-D14B-A417-6C66E51D03C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41189987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A31B14-AAAA-D746-8A4F-C3E1BB0AC40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3" name="Footer Placeholder 2">
            <a:extLst>
              <a:ext uri="{FF2B5EF4-FFF2-40B4-BE49-F238E27FC236}">
                <a16:creationId xmlns:a16="http://schemas.microsoft.com/office/drawing/2014/main" id="{0E54D6A3-2EE2-B640-B0F3-7408BA955A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93CF3B5-8136-464C-B9CE-C289E9FE88E2}"/>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9673849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BD96A-43E5-A645-B273-977F074EA43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2B250C-BB32-7348-BE3C-383B51A8F8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C78973E-998F-6D41-9801-A30991298D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745CC00-44DF-1E48-95F7-E532F4C69D56}"/>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B984893D-3FFC-6749-AD92-18B78F33AD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03AAAD-3463-B142-AEB9-CFB5F3DCA4FF}"/>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94091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AEEA-03B0-C845-83C2-A99DE7CF457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4D0810E-8148-AB45-8D0B-5492633BCB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4CE66B3-4F01-3148-9B21-03E05C5998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180305A-EC70-204D-A203-97127CF60F29}"/>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0FCDF6F2-688B-AC47-8BE3-B3918FD0BB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DCE4F3-8FAC-C647-B187-2C76584703E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7314143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39B2-85B2-8A4B-8008-EE871C7A57D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62A1684-4147-4E4A-BE1D-647E280F681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E7061D-97DA-5D45-A717-D8A7EEF03D1B}"/>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F08C7700-26C6-804B-9BEF-4E4886CEB3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8D442D-6AED-C347-A737-1092964EAE82}"/>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6369692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F360F0-A2C2-BC4E-AC8F-28FB5C10E34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35D444D-2CB3-C84E-AFAB-6E36673058E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1CCCC5E-1493-D445-AD8B-A3A5697A2531}"/>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0036B37B-4148-1847-B7D0-E506A8B43B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948933-1B9F-6140-A9E4-6AC0E5BF3C6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6133560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2286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0670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5486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20DFF-3916-0B4A-B84D-C2732ED5B0A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D0D351-91F7-034E-968A-A3236723AA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2CCDB3A1-7179-F645-AF8C-E9B7D3272788}"/>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F1D41B01-8BA8-D244-8516-6EB84BFC2E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78062-78FD-9E44-A81E-5AC98CA51B7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9396387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6FD0F-BC89-3341-BEF5-1C56B0E6E5E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930D44-0215-D248-87ED-89277D0BCA7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C3BFADF-3CB1-A44C-A2BE-79E6880DE006}"/>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3DA9675D-AB04-8348-BE44-CE18BB8F28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96C95-E4FD-8142-B065-C128516EFCA6}"/>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1289358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351C6-2D17-C14E-8DC1-418227C6986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A0F791E-6CBD-2747-86C9-A91E120F506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76279C1-F68E-7E4B-B565-93EC951F8AF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ACD866C6-99FF-2F4A-936E-613FC9DB3BB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45D0DB7C-BDCE-D146-9584-809FFC25DD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FD1283-F062-2E4B-8DD8-A11DB5311AF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5946729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00079-1CA4-4747-95A0-88F2B3095BA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D9DFF59-B037-E445-86E1-DC2169C35FE0}"/>
              </a:ext>
            </a:extLst>
          </p:cNvPr>
          <p:cNvSpPr>
            <a:spLocks noGrp="1"/>
          </p:cNvSpPr>
          <p:nvPr>
            <p:ph type="body" idx="1"/>
          </p:nvPr>
        </p:nvSpPr>
        <p:spPr>
          <a:xfrm>
            <a:off x="831850" y="4589463"/>
            <a:ext cx="10515600" cy="104933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7C3F387-F019-4F48-9FC8-031E1F1A2454}"/>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397CF4C4-5D7A-0C45-B394-F72F7480CB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734801-F295-7648-9713-ED70A1A5B5C9}"/>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771836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7DB49-3F42-BD41-B31C-4ED4614E79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72F9892-C65C-5E4F-A21B-1F7490174EC4}"/>
              </a:ext>
            </a:extLst>
          </p:cNvPr>
          <p:cNvSpPr>
            <a:spLocks noGrp="1"/>
          </p:cNvSpPr>
          <p:nvPr>
            <p:ph sz="half" idx="1"/>
          </p:nvPr>
        </p:nvSpPr>
        <p:spPr>
          <a:xfrm>
            <a:off x="838200" y="1825625"/>
            <a:ext cx="5181600" cy="377930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8C2E25AB-2711-944A-86B2-1DEA345D7121}"/>
              </a:ext>
            </a:extLst>
          </p:cNvPr>
          <p:cNvSpPr>
            <a:spLocks noGrp="1"/>
          </p:cNvSpPr>
          <p:nvPr>
            <p:ph sz="half" idx="2"/>
          </p:nvPr>
        </p:nvSpPr>
        <p:spPr>
          <a:xfrm>
            <a:off x="6172200" y="1825625"/>
            <a:ext cx="5181600" cy="377930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178C173-458B-D340-B1B3-C76C2CB79712}"/>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6" name="Footer Placeholder 5">
            <a:extLst>
              <a:ext uri="{FF2B5EF4-FFF2-40B4-BE49-F238E27FC236}">
                <a16:creationId xmlns:a16="http://schemas.microsoft.com/office/drawing/2014/main" id="{FE4CA2E5-F12B-BA4A-99A2-E45BC2ADA3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294777-B486-9545-9F85-24D9787CB48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9831500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8095E-DBC4-CA45-BC5A-FA2506035AC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6685C2B-C1DD-4D4E-9481-F67788B529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0465ADB-0A3A-264A-B3F2-C9FE34C9E739}"/>
              </a:ext>
            </a:extLst>
          </p:cNvPr>
          <p:cNvSpPr>
            <a:spLocks noGrp="1"/>
          </p:cNvSpPr>
          <p:nvPr>
            <p:ph sz="half" idx="2"/>
          </p:nvPr>
        </p:nvSpPr>
        <p:spPr>
          <a:xfrm>
            <a:off x="839788" y="2505075"/>
            <a:ext cx="5157787" cy="320145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75BF135-216A-404E-9046-77061A75D0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2CFF0F6-2BF2-5644-BAE0-5B1D19CADBDE}"/>
              </a:ext>
            </a:extLst>
          </p:cNvPr>
          <p:cNvSpPr>
            <a:spLocks noGrp="1"/>
          </p:cNvSpPr>
          <p:nvPr>
            <p:ph sz="quarter" idx="4"/>
          </p:nvPr>
        </p:nvSpPr>
        <p:spPr>
          <a:xfrm>
            <a:off x="6172200" y="2505075"/>
            <a:ext cx="5183188" cy="320145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42BF68C1-9101-FE4C-946A-BECA5AE73D5B}"/>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8" name="Footer Placeholder 7">
            <a:extLst>
              <a:ext uri="{FF2B5EF4-FFF2-40B4-BE49-F238E27FC236}">
                <a16:creationId xmlns:a16="http://schemas.microsoft.com/office/drawing/2014/main" id="{F6BA5FA9-2C6B-C94B-AB41-BEA6099639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FE26E6-F856-6C4B-B612-DB42F5B961A8}"/>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5950115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156DE6-A1A7-9D40-837D-43CAE9D4D6BC}"/>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207D814-0F37-7045-BF9E-76EF7EF4E32D}"/>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4" name="Footer Placeholder 3">
            <a:extLst>
              <a:ext uri="{FF2B5EF4-FFF2-40B4-BE49-F238E27FC236}">
                <a16:creationId xmlns:a16="http://schemas.microsoft.com/office/drawing/2014/main" id="{BBBE4044-FEE8-0E48-AAC0-309063E276F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4F2B29F-4371-D14C-8FFB-2863B3B297D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32704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13D379-6B66-4C43-8C11-027452FEC409}"/>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3" name="Footer Placeholder 2">
            <a:extLst>
              <a:ext uri="{FF2B5EF4-FFF2-40B4-BE49-F238E27FC236}">
                <a16:creationId xmlns:a16="http://schemas.microsoft.com/office/drawing/2014/main" id="{C61BB4D2-2BBB-5E4B-8DBA-1407013500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1D3CEE-6069-BA46-BC1C-D1DD92649391}"/>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7235816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DE275-3175-8940-8941-B73F9487F0D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C8D4FF-6DB8-CB47-84EE-F800EABE25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C11A7C96-7710-754F-859E-3324D5BB21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B65DE5A-17BC-A14B-BE2D-3C65DA828F95}"/>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6" name="Footer Placeholder 5">
            <a:extLst>
              <a:ext uri="{FF2B5EF4-FFF2-40B4-BE49-F238E27FC236}">
                <a16:creationId xmlns:a16="http://schemas.microsoft.com/office/drawing/2014/main" id="{B1998738-4EC7-1A4C-BC62-FA434DD769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9C443E-082B-F54C-A3E9-C32507B6942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7988617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17BAB-D57F-5A41-9396-E5E951E94FC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3B5103D9-54E1-8248-8ED4-933DC986C6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2CF96C-B930-C341-9E97-F2332D0BF1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EE1E317-DA57-D046-BED1-C068CDB5DC1B}"/>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6" name="Footer Placeholder 5">
            <a:extLst>
              <a:ext uri="{FF2B5EF4-FFF2-40B4-BE49-F238E27FC236}">
                <a16:creationId xmlns:a16="http://schemas.microsoft.com/office/drawing/2014/main" id="{F0ED388F-32AC-9544-AB6D-949EB044B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030145-CB91-184B-9F8E-EE37057F405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7152257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C5EF6-5D89-7748-8596-F9E2BEE5F80B}"/>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B3E38CE-7FD6-404C-8276-09E2D0F8C93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0D28EE1-CB37-144D-BE53-35FE26E59BED}"/>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62B4CB85-7467-EA41-A01C-8988111E26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3341E-21F0-8D49-B5F4-16F6097865D7}"/>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0020302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D5F80C-7E89-704E-BEBB-76DF8087DEE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330698D-BB01-DC4A-A5BE-861A384CF36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F90F05-0F2E-E840-8B45-E403A2D0F56A}"/>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B54BE417-1044-134B-ABF1-7DCB00F46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484E22-19D9-5847-BE52-92951EBFCE3E}"/>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42803417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471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DCD01-DE9B-A849-A35D-9F761E7A293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B213394-3DB5-5A4C-965B-35CC3D1F29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80C87B7-015A-EE48-9BA2-392DACDC00E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3A97E02-FB0B-A048-9274-06CF174361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ADCF4DD-E248-C543-910E-BAFFB18831D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8C573B90-35AD-3E43-B0CA-8BA2F2BBBC6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8" name="Footer Placeholder 7">
            <a:extLst>
              <a:ext uri="{FF2B5EF4-FFF2-40B4-BE49-F238E27FC236}">
                <a16:creationId xmlns:a16="http://schemas.microsoft.com/office/drawing/2014/main" id="{126E709E-0F2B-524A-BB14-376202A2698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8CED43-5180-C24B-8196-24914383E7BA}"/>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848707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682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20DFF-3916-0B4A-B84D-C2732ED5B0A3}"/>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DD0D351-91F7-034E-968A-A3236723AA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2CCDB3A1-7179-F645-AF8C-E9B7D3272788}"/>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F1D41B01-8BA8-D244-8516-6EB84BFC2E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78062-78FD-9E44-A81E-5AC98CA51B7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4713518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6FD0F-BC89-3341-BEF5-1C56B0E6E5E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930D44-0215-D248-87ED-89277D0BCA7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C3BFADF-3CB1-A44C-A2BE-79E6880DE006}"/>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3DA9675D-AB04-8348-BE44-CE18BB8F28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96C95-E4FD-8142-B065-C128516EFCA6}"/>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1821499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00079-1CA4-4747-95A0-88F2B3095BA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D9DFF59-B037-E445-86E1-DC2169C35FE0}"/>
              </a:ext>
            </a:extLst>
          </p:cNvPr>
          <p:cNvSpPr>
            <a:spLocks noGrp="1"/>
          </p:cNvSpPr>
          <p:nvPr>
            <p:ph type="body" idx="1"/>
          </p:nvPr>
        </p:nvSpPr>
        <p:spPr>
          <a:xfrm>
            <a:off x="831850" y="4589463"/>
            <a:ext cx="10515600" cy="104933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7C3F387-F019-4F48-9FC8-031E1F1A2454}"/>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397CF4C4-5D7A-0C45-B394-F72F7480CB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734801-F295-7648-9713-ED70A1A5B5C9}"/>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7682508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7DB49-3F42-BD41-B31C-4ED4614E79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72F9892-C65C-5E4F-A21B-1F7490174EC4}"/>
              </a:ext>
            </a:extLst>
          </p:cNvPr>
          <p:cNvSpPr>
            <a:spLocks noGrp="1"/>
          </p:cNvSpPr>
          <p:nvPr>
            <p:ph sz="half" idx="1"/>
          </p:nvPr>
        </p:nvSpPr>
        <p:spPr>
          <a:xfrm>
            <a:off x="838200" y="1825625"/>
            <a:ext cx="5181600" cy="377930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8C2E25AB-2711-944A-86B2-1DEA345D7121}"/>
              </a:ext>
            </a:extLst>
          </p:cNvPr>
          <p:cNvSpPr>
            <a:spLocks noGrp="1"/>
          </p:cNvSpPr>
          <p:nvPr>
            <p:ph sz="half" idx="2"/>
          </p:nvPr>
        </p:nvSpPr>
        <p:spPr>
          <a:xfrm>
            <a:off x="6172200" y="1825625"/>
            <a:ext cx="5181600" cy="377930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178C173-458B-D340-B1B3-C76C2CB79712}"/>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6" name="Footer Placeholder 5">
            <a:extLst>
              <a:ext uri="{FF2B5EF4-FFF2-40B4-BE49-F238E27FC236}">
                <a16:creationId xmlns:a16="http://schemas.microsoft.com/office/drawing/2014/main" id="{FE4CA2E5-F12B-BA4A-99A2-E45BC2ADA3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294777-B486-9545-9F85-24D9787CB48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6648557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8095E-DBC4-CA45-BC5A-FA2506035AC7}"/>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6685C2B-C1DD-4D4E-9481-F67788B529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0465ADB-0A3A-264A-B3F2-C9FE34C9E739}"/>
              </a:ext>
            </a:extLst>
          </p:cNvPr>
          <p:cNvSpPr>
            <a:spLocks noGrp="1"/>
          </p:cNvSpPr>
          <p:nvPr>
            <p:ph sz="half" idx="2"/>
          </p:nvPr>
        </p:nvSpPr>
        <p:spPr>
          <a:xfrm>
            <a:off x="839788" y="2505075"/>
            <a:ext cx="5157787" cy="320145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575BF135-216A-404E-9046-77061A75D0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2CFF0F6-2BF2-5644-BAE0-5B1D19CADBDE}"/>
              </a:ext>
            </a:extLst>
          </p:cNvPr>
          <p:cNvSpPr>
            <a:spLocks noGrp="1"/>
          </p:cNvSpPr>
          <p:nvPr>
            <p:ph sz="quarter" idx="4"/>
          </p:nvPr>
        </p:nvSpPr>
        <p:spPr>
          <a:xfrm>
            <a:off x="6172200" y="2505075"/>
            <a:ext cx="5183188" cy="320145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42BF68C1-9101-FE4C-946A-BECA5AE73D5B}"/>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8" name="Footer Placeholder 7">
            <a:extLst>
              <a:ext uri="{FF2B5EF4-FFF2-40B4-BE49-F238E27FC236}">
                <a16:creationId xmlns:a16="http://schemas.microsoft.com/office/drawing/2014/main" id="{F6BA5FA9-2C6B-C94B-AB41-BEA60996391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FE26E6-F856-6C4B-B612-DB42F5B961A8}"/>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7814462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719AE31-EDC5-BE89-F6FE-F70A44D9BABE}"/>
              </a:ext>
            </a:extLst>
          </p:cNvPr>
          <p:cNvGraphicFramePr>
            <a:graphicFrameLocks noChangeAspect="1"/>
          </p:cNvGraphicFramePr>
          <p:nvPr userDrawn="1">
            <p:custDataLst>
              <p:tags r:id="rId1"/>
            </p:custDataLst>
            <p:extLst>
              <p:ext uri="{D42A27DB-BD31-4B8C-83A1-F6EECF244321}">
                <p14:modId xmlns:p14="http://schemas.microsoft.com/office/powerpoint/2010/main" val="4082183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5" imgH="303" progId="TCLayout.ActiveDocument.1">
                  <p:embed/>
                </p:oleObj>
              </mc:Choice>
              <mc:Fallback>
                <p:oleObj name="think-cell Slide" r:id="rId3" imgW="305" imgH="303" progId="TCLayout.ActiveDocument.1">
                  <p:embed/>
                  <p:pic>
                    <p:nvPicPr>
                      <p:cNvPr id="8" name="Object 7" hidden="1">
                        <a:extLst>
                          <a:ext uri="{FF2B5EF4-FFF2-40B4-BE49-F238E27FC236}">
                            <a16:creationId xmlns:a16="http://schemas.microsoft.com/office/drawing/2014/main" id="{3719AE31-EDC5-BE89-F6FE-F70A44D9BA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156DE6-A1A7-9D40-837D-43CAE9D4D6BC}"/>
              </a:ext>
            </a:extLst>
          </p:cNvPr>
          <p:cNvSpPr>
            <a:spLocks noGrp="1"/>
          </p:cNvSpPr>
          <p:nvPr>
            <p:ph type="title"/>
          </p:nvPr>
        </p:nvSpPr>
        <p:spPr>
          <a:xfrm>
            <a:off x="376238" y="365125"/>
            <a:ext cx="11439525" cy="387798"/>
          </a:xfrm>
        </p:spPr>
        <p:txBody>
          <a:bodyPr vert="horz" lIns="0" tIns="0" rIns="0" bIns="0" anchor="t" anchorCtr="0">
            <a:spAutoFit/>
          </a:bodyPr>
          <a:lstStyle>
            <a:lvl1pPr>
              <a:defRPr sz="2800"/>
            </a:lvl1p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D4F2B29F-4371-D14C-8FFB-2863B3B297DF}"/>
              </a:ext>
            </a:extLst>
          </p:cNvPr>
          <p:cNvSpPr>
            <a:spLocks noGrp="1"/>
          </p:cNvSpPr>
          <p:nvPr>
            <p:ph type="sldNum" sz="quarter" idx="12"/>
          </p:nvPr>
        </p:nvSpPr>
        <p:spPr>
          <a:xfrm>
            <a:off x="11225213" y="6501330"/>
            <a:ext cx="590550" cy="153888"/>
          </a:xfrm>
        </p:spPr>
        <p:txBody>
          <a:bodyPr lIns="0" tIns="0" rIns="0" bIns="0">
            <a:spAutoFit/>
          </a:bodyPr>
          <a:lstStyle>
            <a:lvl1pPr>
              <a:defRPr sz="1000"/>
            </a:lvl1pPr>
          </a:lstStyle>
          <a:p>
            <a:fld id="{5E0B49ED-3BDC-B645-964C-10CAC51D48A6}" type="slidenum">
              <a:rPr lang="en-US" smtClean="0"/>
              <a:pPr/>
              <a:t>‹#›</a:t>
            </a:fld>
            <a:endParaRPr lang="en-US"/>
          </a:p>
        </p:txBody>
      </p:sp>
      <p:pic>
        <p:nvPicPr>
          <p:cNvPr id="6" name="Picture 5">
            <a:extLst>
              <a:ext uri="{FF2B5EF4-FFF2-40B4-BE49-F238E27FC236}">
                <a16:creationId xmlns:a16="http://schemas.microsoft.com/office/drawing/2014/main" id="{2562932E-04EB-7A60-AACC-45A53F6430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76238" y="6321524"/>
            <a:ext cx="1268038" cy="373056"/>
          </a:xfrm>
          <a:prstGeom prst="rect">
            <a:avLst/>
          </a:prstGeom>
        </p:spPr>
      </p:pic>
    </p:spTree>
    <p:extLst>
      <p:ext uri="{BB962C8B-B14F-4D97-AF65-F5344CB8AC3E}">
        <p14:creationId xmlns:p14="http://schemas.microsoft.com/office/powerpoint/2010/main" val="28710325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13D379-6B66-4C43-8C11-027452FEC409}"/>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3" name="Footer Placeholder 2">
            <a:extLst>
              <a:ext uri="{FF2B5EF4-FFF2-40B4-BE49-F238E27FC236}">
                <a16:creationId xmlns:a16="http://schemas.microsoft.com/office/drawing/2014/main" id="{C61BB4D2-2BBB-5E4B-8DBA-1407013500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1D3CEE-6069-BA46-BC1C-D1DD92649391}"/>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4622781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DE275-3175-8940-8941-B73F9487F0D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C8D4FF-6DB8-CB47-84EE-F800EABE25A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C11A7C96-7710-754F-859E-3324D5BB21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B65DE5A-17BC-A14B-BE2D-3C65DA828F95}"/>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6" name="Footer Placeholder 5">
            <a:extLst>
              <a:ext uri="{FF2B5EF4-FFF2-40B4-BE49-F238E27FC236}">
                <a16:creationId xmlns:a16="http://schemas.microsoft.com/office/drawing/2014/main" id="{B1998738-4EC7-1A4C-BC62-FA434DD769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9C443E-082B-F54C-A3E9-C32507B6942F}"/>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22341780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17BAB-D57F-5A41-9396-E5E951E94FC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3B5103D9-54E1-8248-8ED4-933DC986C68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2CF96C-B930-C341-9E97-F2332D0BF15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EE1E317-DA57-D046-BED1-C068CDB5DC1B}"/>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6" name="Footer Placeholder 5">
            <a:extLst>
              <a:ext uri="{FF2B5EF4-FFF2-40B4-BE49-F238E27FC236}">
                <a16:creationId xmlns:a16="http://schemas.microsoft.com/office/drawing/2014/main" id="{F0ED388F-32AC-9544-AB6D-949EB044B9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7030145-CB91-184B-9F8E-EE37057F405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1306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E4D60-AC0C-044F-8925-BE12978C5543}"/>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080422E-D871-AC4C-A0FF-BA911179FDAA}"/>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4" name="Footer Placeholder 3">
            <a:extLst>
              <a:ext uri="{FF2B5EF4-FFF2-40B4-BE49-F238E27FC236}">
                <a16:creationId xmlns:a16="http://schemas.microsoft.com/office/drawing/2014/main" id="{3FA61A44-CE7E-2E47-A2C7-EFD19C4D40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A8DBD8-7206-5A45-8701-1C5BFDD6468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9189618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C5EF6-5D89-7748-8596-F9E2BEE5F80B}"/>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3B3E38CE-7FD6-404C-8276-09E2D0F8C93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0D28EE1-CB37-144D-BE53-35FE26E59BED}"/>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62B4CB85-7467-EA41-A01C-8988111E26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3341E-21F0-8D49-B5F4-16F6097865D7}"/>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1779490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CD5F80C-7E89-704E-BEBB-76DF8087DEE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330698D-BB01-DC4A-A5BE-861A384CF36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F90F05-0F2E-E840-8B45-E403A2D0F56A}"/>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B54BE417-1044-134B-ABF1-7DCB00F467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484E22-19D9-5847-BE52-92951EBFCE3E}"/>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8705720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9150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469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CAE69-592D-6D48-8D37-1AF709B0432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ECE34F9-FD31-954C-90A9-25364BF3A31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1381E6B-7D41-F84E-B286-61EBCE0535F6}"/>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73CE29A8-E8C2-784C-9495-F0D437E955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4039A4-CB11-B346-94E7-20D66FCAC610}"/>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3480580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EF2C8-66D4-EF4A-AAFD-01BC50FA7EA5}"/>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5AD9361-0DDC-EE4E-A740-F93892B3693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AD9F65C-3FCD-8B46-A28D-257FA8F28C4F}"/>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1A88163C-7F3C-9B44-A028-C4886506FC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47796D-644C-B740-8C2E-356ECAB6D30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8942200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1CB58-4758-1C42-8DAA-2AAA3F98FED3}"/>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AB7D025-4B39-8D45-811F-5B1E30D5E7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A42683CA-90A4-5E49-AA2C-3DCED63A8EBC}"/>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97E1DED1-CD68-AC4C-ABC6-F8EEE292B7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A83341-F52D-D14B-A417-6C66E51D03C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8769695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351C6-2D17-C14E-8DC1-418227C6986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3A0F791E-6CBD-2747-86C9-A91E120F506B}"/>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676279C1-F68E-7E4B-B565-93EC951F8AF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ACD866C6-99FF-2F4A-936E-613FC9DB3BB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45D0DB7C-BDCE-D146-9584-809FFC25DD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FD1283-F062-2E4B-8DD8-A11DB5311AF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5689957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DCD01-DE9B-A849-A35D-9F761E7A293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B213394-3DB5-5A4C-965B-35CC3D1F298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80C87B7-015A-EE48-9BA2-392DACDC00EA}"/>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3A97E02-FB0B-A048-9274-06CF174361D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ADCF4DD-E248-C543-910E-BAFFB18831D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8C573B90-35AD-3E43-B0CA-8BA2F2BBBC6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8" name="Footer Placeholder 7">
            <a:extLst>
              <a:ext uri="{FF2B5EF4-FFF2-40B4-BE49-F238E27FC236}">
                <a16:creationId xmlns:a16="http://schemas.microsoft.com/office/drawing/2014/main" id="{126E709E-0F2B-524A-BB14-376202A2698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B8CED43-5180-C24B-8196-24914383E7BA}"/>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0883516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7E4D60-AC0C-044F-8925-BE12978C5543}"/>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080422E-D871-AC4C-A0FF-BA911179FDAA}"/>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4" name="Footer Placeholder 3">
            <a:extLst>
              <a:ext uri="{FF2B5EF4-FFF2-40B4-BE49-F238E27FC236}">
                <a16:creationId xmlns:a16="http://schemas.microsoft.com/office/drawing/2014/main" id="{3FA61A44-CE7E-2E47-A2C7-EFD19C4D40C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3A8DBD8-7206-5A45-8701-1C5BFDD6468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533782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A31B14-AAAA-D746-8A4F-C3E1BB0AC40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3" name="Footer Placeholder 2">
            <a:extLst>
              <a:ext uri="{FF2B5EF4-FFF2-40B4-BE49-F238E27FC236}">
                <a16:creationId xmlns:a16="http://schemas.microsoft.com/office/drawing/2014/main" id="{0E54D6A3-2EE2-B640-B0F3-7408BA955A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93CF3B5-8136-464C-B9CE-C289E9FE88E2}"/>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9954559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A31B14-AAAA-D746-8A4F-C3E1BB0AC402}"/>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3" name="Footer Placeholder 2">
            <a:extLst>
              <a:ext uri="{FF2B5EF4-FFF2-40B4-BE49-F238E27FC236}">
                <a16:creationId xmlns:a16="http://schemas.microsoft.com/office/drawing/2014/main" id="{0E54D6A3-2EE2-B640-B0F3-7408BA955A6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93CF3B5-8136-464C-B9CE-C289E9FE88E2}"/>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6785531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BD96A-43E5-A645-B273-977F074EA43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2B250C-BB32-7348-BE3C-383B51A8F8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C78973E-998F-6D41-9801-A30991298D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745CC00-44DF-1E48-95F7-E532F4C69D56}"/>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B984893D-3FFC-6749-AD92-18B78F33AD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03AAAD-3463-B142-AEB9-CFB5F3DCA4FF}"/>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399424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AEEA-03B0-C845-83C2-A99DE7CF457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4D0810E-8148-AB45-8D0B-5492633BCB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4CE66B3-4F01-3148-9B21-03E05C5998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180305A-EC70-204D-A203-97127CF60F29}"/>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0FCDF6F2-688B-AC47-8BE3-B3918FD0BB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DCE4F3-8FAC-C647-B187-2C76584703E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32803570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D39B2-85B2-8A4B-8008-EE871C7A57D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62A1684-4147-4E4A-BE1D-647E280F6815}"/>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E7061D-97DA-5D45-A717-D8A7EEF03D1B}"/>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F08C7700-26C6-804B-9BEF-4E4886CEB3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8D442D-6AED-C347-A737-1092964EAE82}"/>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530761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F360F0-A2C2-BC4E-AC8F-28FB5C10E34A}"/>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35D444D-2CB3-C84E-AFAB-6E36673058E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1CCCC5E-1493-D445-AD8B-A3A5697A2531}"/>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0036B37B-4148-1847-B7D0-E506A8B43B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948933-1B9F-6140-A9E4-6AC0E5BF3C61}"/>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12689500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30516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8735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6FD0F-BC89-3341-BEF5-1C56B0E6E5E7}"/>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930D44-0215-D248-87ED-89277D0BCA7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C3BFADF-3CB1-A44C-A2BE-79E6880DE00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DA9675D-AB04-8348-BE44-CE18BB8F28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696C95-E4FD-8142-B065-C128516EFCA6}"/>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3358072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200684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20DFF-3916-0B4A-B84D-C2732ED5B0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DD0D351-91F7-034E-968A-A3236723AA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CCDB3A1-7179-F645-AF8C-E9B7D3272788}"/>
              </a:ext>
            </a:extLst>
          </p:cNvPr>
          <p:cNvSpPr>
            <a:spLocks noGrp="1"/>
          </p:cNvSpPr>
          <p:nvPr>
            <p:ph type="dt" sz="half" idx="10"/>
          </p:nvPr>
        </p:nvSpPr>
        <p:spPr/>
        <p:txBody>
          <a:body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F1D41B01-8BA8-D244-8516-6EB84BFC2E9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78062-78FD-9E44-A81E-5AC98CA51B7C}"/>
              </a:ext>
            </a:extLst>
          </p:cNvPr>
          <p:cNvSpPr>
            <a:spLocks noGrp="1"/>
          </p:cNvSpPr>
          <p:nvPr>
            <p:ph type="sldNum" sz="quarter" idx="12"/>
          </p:nvPr>
        </p:nvSpPr>
        <p:spPr/>
        <p:txBody>
          <a:bodyPr/>
          <a:lstStyle/>
          <a:p>
            <a:fld id="{5E0B49ED-3BDC-B645-964C-10CAC51D48A6}" type="slidenum">
              <a:rPr lang="en-US" smtClean="0"/>
              <a:t>‹#›</a:t>
            </a:fld>
            <a:endParaRPr lang="en-US"/>
          </a:p>
        </p:txBody>
      </p:sp>
    </p:spTree>
    <p:extLst>
      <p:ext uri="{BB962C8B-B14F-4D97-AF65-F5344CB8AC3E}">
        <p14:creationId xmlns:p14="http://schemas.microsoft.com/office/powerpoint/2010/main" val="3548859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BD96A-43E5-A645-B273-977F074EA43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02B250C-BB32-7348-BE3C-383B51A8F8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C78973E-998F-6D41-9801-A30991298D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745CC00-44DF-1E48-95F7-E532F4C69D56}"/>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B984893D-3FFC-6749-AD92-18B78F33AD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03AAAD-3463-B142-AEB9-CFB5F3DCA4FF}"/>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8185966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2053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AEEA-03B0-C845-83C2-A99DE7CF457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D4D0810E-8148-AB45-8D0B-5492633BCB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4CE66B3-4F01-3148-9B21-03E05C5998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180305A-EC70-204D-A203-97127CF60F29}"/>
              </a:ext>
            </a:extLst>
          </p:cNvPr>
          <p:cNvSpPr>
            <a:spLocks noGrp="1"/>
          </p:cNvSpPr>
          <p:nvPr>
            <p:ph type="dt" sz="half" idx="10"/>
          </p:nvPr>
        </p:nvSpPr>
        <p:spPr/>
        <p:txBody>
          <a:bodyPr/>
          <a:lstStyle/>
          <a:p>
            <a:fld id="{14BD68BC-1AD8-B640-8B1E-602BF3073AFD}" type="datetimeFigureOut">
              <a:rPr lang="en-US" smtClean="0"/>
              <a:t>7/1/2025</a:t>
            </a:fld>
            <a:endParaRPr lang="en-US"/>
          </a:p>
        </p:txBody>
      </p:sp>
      <p:sp>
        <p:nvSpPr>
          <p:cNvPr id="6" name="Footer Placeholder 5">
            <a:extLst>
              <a:ext uri="{FF2B5EF4-FFF2-40B4-BE49-F238E27FC236}">
                <a16:creationId xmlns:a16="http://schemas.microsoft.com/office/drawing/2014/main" id="{0FCDF6F2-688B-AC47-8BE3-B3918FD0BB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DCE4F3-8FAC-C647-B187-2C76584703EE}"/>
              </a:ext>
            </a:extLst>
          </p:cNvPr>
          <p:cNvSpPr>
            <a:spLocks noGrp="1"/>
          </p:cNvSpPr>
          <p:nvPr>
            <p:ph type="sldNum" sz="quarter" idx="12"/>
          </p:nvPr>
        </p:nvSpPr>
        <p:spPr/>
        <p:txBody>
          <a:bodyPr/>
          <a:lstStyle/>
          <a:p>
            <a:fld id="{BBAAB195-B577-5546-8349-9DDA93B6129E}" type="slidenum">
              <a:rPr lang="en-US" smtClean="0"/>
              <a:t>‹#›</a:t>
            </a:fld>
            <a:endParaRPr lang="en-US"/>
          </a:p>
        </p:txBody>
      </p:sp>
    </p:spTree>
    <p:extLst>
      <p:ext uri="{BB962C8B-B14F-4D97-AF65-F5344CB8AC3E}">
        <p14:creationId xmlns:p14="http://schemas.microsoft.com/office/powerpoint/2010/main" val="29852779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2.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4.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5.emf"/><Relationship Id="rId2" Type="http://schemas.openxmlformats.org/officeDocument/2006/relationships/slideLayout" Target="../slideLayouts/slideLayout52.xml"/><Relationship Id="rId16" Type="http://schemas.openxmlformats.org/officeDocument/2006/relationships/oleObject" Target="../embeddings/oleObject1.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image" Target="../media/image6.png"/><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image" Target="../media/image7.png"/><Relationship Id="rId5" Type="http://schemas.openxmlformats.org/officeDocument/2006/relationships/theme" Target="../theme/theme7.xml"/><Relationship Id="rId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944EB6-27EE-0E47-84EB-753C79CA3B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51CE029-EB58-6B41-8EAC-704F548C31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134E693-13CD-E14F-A36D-9E3FC3ABCD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A5C84B2D-1B08-DB46-ACAA-271FBB7351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BDCA95-5F3D-D940-BE0E-5DFB110309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AAB195-B577-5546-8349-9DDA93B6129E}" type="slidenum">
              <a:rPr lang="en-US" smtClean="0"/>
              <a:t>‹#›</a:t>
            </a:fld>
            <a:endParaRPr lang="en-US"/>
          </a:p>
        </p:txBody>
      </p:sp>
      <p:pic>
        <p:nvPicPr>
          <p:cNvPr id="8" name="Picture 7">
            <a:extLst>
              <a:ext uri="{FF2B5EF4-FFF2-40B4-BE49-F238E27FC236}">
                <a16:creationId xmlns:a16="http://schemas.microsoft.com/office/drawing/2014/main" id="{4F8177F7-A449-9A4A-A435-C2D7910F8B49}"/>
              </a:ext>
            </a:extLst>
          </p:cNvPr>
          <p:cNvPicPr>
            <a:picLocks noChangeAspect="1"/>
          </p:cNvPicPr>
          <p:nvPr userDrawn="1"/>
        </p:nvPicPr>
        <p:blipFill>
          <a:blip r:embed="rId14"/>
          <a:stretch>
            <a:fillRect/>
          </a:stretch>
        </p:blipFill>
        <p:spPr>
          <a:xfrm>
            <a:off x="93600" y="5760000"/>
            <a:ext cx="2352675" cy="1010412"/>
          </a:xfrm>
          <a:prstGeom prst="rect">
            <a:avLst/>
          </a:prstGeom>
        </p:spPr>
      </p:pic>
    </p:spTree>
    <p:extLst>
      <p:ext uri="{BB962C8B-B14F-4D97-AF65-F5344CB8AC3E}">
        <p14:creationId xmlns:p14="http://schemas.microsoft.com/office/powerpoint/2010/main" val="96768518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804" r:id="rId12"/>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1"/>
        </a:buClr>
        <a:buFont typeface="Wingdings" pitchFamily="2" charset="2"/>
        <a:buChar char="§"/>
        <a:defRPr sz="28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Wingdings" pitchFamily="2" charset="2"/>
        <a:buChar char="§"/>
        <a:defRPr sz="2400" kern="1200">
          <a:solidFill>
            <a:schemeClr val="accent4"/>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Wingdings" pitchFamily="2" charset="2"/>
        <a:buChar char="§"/>
        <a:defRPr sz="2000" kern="1200">
          <a:solidFill>
            <a:schemeClr val="accent4"/>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alphaModFix amt="0"/>
            <a:lum/>
          </a:blip>
          <a:srcRect/>
          <a:tile tx="0" ty="0" sx="100000" sy="100000" flip="none" algn="tl"/>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EF700E1-8806-684B-92DD-38F427D72C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5064E7C5-4BAD-EE4F-97FA-4ABC35C182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C4F891B-020E-3848-8F43-83411742EA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8F4130-B4A6-894D-B490-953E3F85E7B4}" type="datetimeFigureOut">
              <a:rPr lang="en-US" smtClean="0"/>
              <a:t>7/1/2025</a:t>
            </a:fld>
            <a:endParaRPr lang="en-US"/>
          </a:p>
        </p:txBody>
      </p:sp>
      <p:sp>
        <p:nvSpPr>
          <p:cNvPr id="5" name="Footer Placeholder 4">
            <a:extLst>
              <a:ext uri="{FF2B5EF4-FFF2-40B4-BE49-F238E27FC236}">
                <a16:creationId xmlns:a16="http://schemas.microsoft.com/office/drawing/2014/main" id="{55EB35C3-6F52-0E4C-9B18-32A0FD1E72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EF25824-A379-764C-93C6-08FD5AE01C5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036594-A73E-E649-A4D8-85AD0E0F546E}" type="slidenum">
              <a:rPr lang="en-US" smtClean="0"/>
              <a:t>‹#›</a:t>
            </a:fld>
            <a:endParaRPr lang="en-US"/>
          </a:p>
        </p:txBody>
      </p:sp>
      <p:pic>
        <p:nvPicPr>
          <p:cNvPr id="9" name="Picture 8">
            <a:extLst>
              <a:ext uri="{FF2B5EF4-FFF2-40B4-BE49-F238E27FC236}">
                <a16:creationId xmlns:a16="http://schemas.microsoft.com/office/drawing/2014/main" id="{F7E8E88D-0124-334D-9A62-B379BDAB517D}"/>
              </a:ext>
            </a:extLst>
          </p:cNvPr>
          <p:cNvPicPr>
            <a:picLocks noChangeAspect="1"/>
          </p:cNvPicPr>
          <p:nvPr userDrawn="1"/>
        </p:nvPicPr>
        <p:blipFill>
          <a:blip r:embed="rId14"/>
          <a:stretch>
            <a:fillRect/>
          </a:stretch>
        </p:blipFill>
        <p:spPr>
          <a:xfrm>
            <a:off x="97200" y="5760000"/>
            <a:ext cx="2338676" cy="1004400"/>
          </a:xfrm>
          <a:prstGeom prst="rect">
            <a:avLst/>
          </a:prstGeom>
        </p:spPr>
      </p:pic>
    </p:spTree>
    <p:extLst>
      <p:ext uri="{BB962C8B-B14F-4D97-AF65-F5344CB8AC3E}">
        <p14:creationId xmlns:p14="http://schemas.microsoft.com/office/powerpoint/2010/main" val="429328301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944EB6-27EE-0E47-84EB-753C79CA3B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51CE029-EB58-6B41-8EAC-704F548C31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134E693-13CD-E14F-A36D-9E3FC3ABCD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A5C84B2D-1B08-DB46-ACAA-271FBB7351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BDCA95-5F3D-D940-BE0E-5DFB110309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AAB195-B577-5546-8349-9DDA93B6129E}" type="slidenum">
              <a:rPr lang="en-US" smtClean="0"/>
              <a:t>‹#›</a:t>
            </a:fld>
            <a:endParaRPr lang="en-US"/>
          </a:p>
        </p:txBody>
      </p:sp>
    </p:spTree>
    <p:extLst>
      <p:ext uri="{BB962C8B-B14F-4D97-AF65-F5344CB8AC3E}">
        <p14:creationId xmlns:p14="http://schemas.microsoft.com/office/powerpoint/2010/main" val="314338042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1"/>
        </a:buClr>
        <a:buFont typeface="Wingdings" pitchFamily="2" charset="2"/>
        <a:buChar char="§"/>
        <a:defRPr sz="28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Wingdings" pitchFamily="2" charset="2"/>
        <a:buChar char="§"/>
        <a:defRPr sz="2400" kern="1200">
          <a:solidFill>
            <a:schemeClr val="accent4"/>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Wingdings" pitchFamily="2" charset="2"/>
        <a:buChar char="§"/>
        <a:defRPr sz="2000" kern="1200">
          <a:solidFill>
            <a:schemeClr val="accent4"/>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F8F165-EA3E-BE4D-A166-E1808E6958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8E08D52-24AA-2746-B1C0-CFEBF69439B8}"/>
              </a:ext>
            </a:extLst>
          </p:cNvPr>
          <p:cNvSpPr>
            <a:spLocks noGrp="1"/>
          </p:cNvSpPr>
          <p:nvPr>
            <p:ph type="body" idx="1"/>
          </p:nvPr>
        </p:nvSpPr>
        <p:spPr>
          <a:xfrm>
            <a:off x="838200" y="1825625"/>
            <a:ext cx="10515600" cy="379624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816DB20-01DB-D84C-A74D-2C16DBBEB9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7106315B-BB5B-9F4C-96E0-DAFAB644F0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8D7268-6812-EE40-A071-66B15A590D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0B49ED-3BDC-B645-964C-10CAC51D48A6}" type="slidenum">
              <a:rPr lang="en-US" smtClean="0"/>
              <a:t>‹#›</a:t>
            </a:fld>
            <a:endParaRPr lang="en-US"/>
          </a:p>
        </p:txBody>
      </p:sp>
      <p:pic>
        <p:nvPicPr>
          <p:cNvPr id="7" name="Picture 6">
            <a:extLst>
              <a:ext uri="{FF2B5EF4-FFF2-40B4-BE49-F238E27FC236}">
                <a16:creationId xmlns:a16="http://schemas.microsoft.com/office/drawing/2014/main" id="{8EAD00EF-584A-B74E-9B07-9D59591082B8}"/>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515938" y="5871124"/>
            <a:ext cx="1645372" cy="484067"/>
          </a:xfrm>
          <a:prstGeom prst="rect">
            <a:avLst/>
          </a:prstGeom>
        </p:spPr>
      </p:pic>
    </p:spTree>
    <p:extLst>
      <p:ext uri="{BB962C8B-B14F-4D97-AF65-F5344CB8AC3E}">
        <p14:creationId xmlns:p14="http://schemas.microsoft.com/office/powerpoint/2010/main" val="693688640"/>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xStyles>
    <p:title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kern="1200">
          <a:solidFill>
            <a:srgbClr val="67676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kern="1200">
          <a:solidFill>
            <a:srgbClr val="67676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kern="1200">
          <a:solidFill>
            <a:srgbClr val="67676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9D2C1D-03BB-8ABE-30D7-E93251BAA81C}"/>
              </a:ext>
            </a:extLst>
          </p:cNvPr>
          <p:cNvGraphicFramePr>
            <a:graphicFrameLocks noChangeAspect="1"/>
          </p:cNvGraphicFramePr>
          <p:nvPr userDrawn="1">
            <p:custDataLst>
              <p:tags r:id="rId15"/>
            </p:custDataLst>
            <p:extLst>
              <p:ext uri="{D42A27DB-BD31-4B8C-83A1-F6EECF244321}">
                <p14:modId xmlns:p14="http://schemas.microsoft.com/office/powerpoint/2010/main" val="346040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05" imgH="303" progId="TCLayout.ActiveDocument.1">
                  <p:embed/>
                </p:oleObj>
              </mc:Choice>
              <mc:Fallback>
                <p:oleObj name="think-cell Slide" r:id="rId16" imgW="305" imgH="303" progId="TCLayout.ActiveDocument.1">
                  <p:embed/>
                  <p:pic>
                    <p:nvPicPr>
                      <p:cNvPr id="9" name="Object 8" hidden="1">
                        <a:extLst>
                          <a:ext uri="{FF2B5EF4-FFF2-40B4-BE49-F238E27FC236}">
                            <a16:creationId xmlns:a16="http://schemas.microsoft.com/office/drawing/2014/main" id="{8A9D2C1D-03BB-8ABE-30D7-E93251BAA81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6F8F165-EA3E-BE4D-A166-E1808E6958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8E08D52-24AA-2746-B1C0-CFEBF69439B8}"/>
              </a:ext>
            </a:extLst>
          </p:cNvPr>
          <p:cNvSpPr>
            <a:spLocks noGrp="1"/>
          </p:cNvSpPr>
          <p:nvPr>
            <p:ph type="body" idx="1"/>
          </p:nvPr>
        </p:nvSpPr>
        <p:spPr>
          <a:xfrm>
            <a:off x="838200" y="1825625"/>
            <a:ext cx="10515600" cy="379624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816DB20-01DB-D84C-A74D-2C16DBBEB9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CEF251-E918-784C-8717-1F0B733AA660}" type="datetimeFigureOut">
              <a:rPr lang="en-US" smtClean="0"/>
              <a:t>7/1/2025</a:t>
            </a:fld>
            <a:endParaRPr lang="en-US"/>
          </a:p>
        </p:txBody>
      </p:sp>
      <p:sp>
        <p:nvSpPr>
          <p:cNvPr id="5" name="Footer Placeholder 4">
            <a:extLst>
              <a:ext uri="{FF2B5EF4-FFF2-40B4-BE49-F238E27FC236}">
                <a16:creationId xmlns:a16="http://schemas.microsoft.com/office/drawing/2014/main" id="{7106315B-BB5B-9F4C-96E0-DAFAB644F0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8D7268-6812-EE40-A071-66B15A590D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0B49ED-3BDC-B645-964C-10CAC51D48A6}" type="slidenum">
              <a:rPr lang="en-US" smtClean="0"/>
              <a:t>‹#›</a:t>
            </a:fld>
            <a:endParaRPr lang="en-US"/>
          </a:p>
        </p:txBody>
      </p:sp>
    </p:spTree>
    <p:extLst>
      <p:ext uri="{BB962C8B-B14F-4D97-AF65-F5344CB8AC3E}">
        <p14:creationId xmlns:p14="http://schemas.microsoft.com/office/powerpoint/2010/main" val="84702173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Lst>
  <p:txStyles>
    <p:title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kern="1200">
          <a:solidFill>
            <a:srgbClr val="67676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kern="1200">
          <a:solidFill>
            <a:srgbClr val="67676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kern="1200">
          <a:solidFill>
            <a:srgbClr val="67676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944EB6-27EE-0E47-84EB-753C79CA3B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51CE029-EB58-6B41-8EAC-704F548C31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134E693-13CD-E14F-A36D-9E3FC3ABCD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BD68BC-1AD8-B640-8B1E-602BF3073AFD}" type="datetimeFigureOut">
              <a:rPr lang="en-US" smtClean="0"/>
              <a:t>7/1/2025</a:t>
            </a:fld>
            <a:endParaRPr lang="en-US"/>
          </a:p>
        </p:txBody>
      </p:sp>
      <p:sp>
        <p:nvSpPr>
          <p:cNvPr id="5" name="Footer Placeholder 4">
            <a:extLst>
              <a:ext uri="{FF2B5EF4-FFF2-40B4-BE49-F238E27FC236}">
                <a16:creationId xmlns:a16="http://schemas.microsoft.com/office/drawing/2014/main" id="{A5C84B2D-1B08-DB46-ACAA-271FBB7351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7BDCA95-5F3D-D940-BE0E-5DFB110309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AAB195-B577-5546-8349-9DDA93B6129E}" type="slidenum">
              <a:rPr lang="en-US" smtClean="0"/>
              <a:t>‹#›</a:t>
            </a:fld>
            <a:endParaRPr lang="en-US"/>
          </a:p>
        </p:txBody>
      </p:sp>
      <p:pic>
        <p:nvPicPr>
          <p:cNvPr id="8" name="Picture 7">
            <a:extLst>
              <a:ext uri="{FF2B5EF4-FFF2-40B4-BE49-F238E27FC236}">
                <a16:creationId xmlns:a16="http://schemas.microsoft.com/office/drawing/2014/main" id="{4F8177F7-A449-9A4A-A435-C2D7910F8B49}"/>
              </a:ext>
            </a:extLst>
          </p:cNvPr>
          <p:cNvPicPr>
            <a:picLocks noChangeAspect="1"/>
          </p:cNvPicPr>
          <p:nvPr userDrawn="1"/>
        </p:nvPicPr>
        <p:blipFill>
          <a:blip r:embed="rId15" cstate="hqprint">
            <a:extLst>
              <a:ext uri="{28A0092B-C50C-407E-A947-70E740481C1C}">
                <a14:useLocalDpi xmlns:a14="http://schemas.microsoft.com/office/drawing/2010/main"/>
              </a:ext>
            </a:extLst>
          </a:blip>
          <a:stretch>
            <a:fillRect/>
          </a:stretch>
        </p:blipFill>
        <p:spPr>
          <a:xfrm>
            <a:off x="93600" y="5760000"/>
            <a:ext cx="2352675" cy="1010412"/>
          </a:xfrm>
          <a:prstGeom prst="rect">
            <a:avLst/>
          </a:prstGeom>
        </p:spPr>
      </p:pic>
    </p:spTree>
    <p:extLst>
      <p:ext uri="{BB962C8B-B14F-4D97-AF65-F5344CB8AC3E}">
        <p14:creationId xmlns:p14="http://schemas.microsoft.com/office/powerpoint/2010/main" val="23398140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txStyles>
    <p:titleStyle>
      <a:lvl1pPr algn="l" defTabSz="914400" rtl="0" eaLnBrk="1" latinLnBrk="0" hangingPunct="1">
        <a:lnSpc>
          <a:spcPct val="90000"/>
        </a:lnSpc>
        <a:spcBef>
          <a:spcPct val="0"/>
        </a:spcBef>
        <a:buNone/>
        <a:defRPr sz="44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1"/>
        </a:buClr>
        <a:buFont typeface="Wingdings" pitchFamily="2" charset="2"/>
        <a:buChar char="§"/>
        <a:defRPr sz="28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Wingdings" pitchFamily="2" charset="2"/>
        <a:buChar char="§"/>
        <a:defRPr sz="2400" kern="1200">
          <a:solidFill>
            <a:schemeClr val="accent4"/>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Wingdings" pitchFamily="2" charset="2"/>
        <a:buChar char="§"/>
        <a:defRPr sz="2000" kern="1200">
          <a:solidFill>
            <a:schemeClr val="accent4"/>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6F8F165-EA3E-BE4D-A166-E1808E6958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8E08D52-24AA-2746-B1C0-CFEBF69439B8}"/>
              </a:ext>
            </a:extLst>
          </p:cNvPr>
          <p:cNvSpPr>
            <a:spLocks noGrp="1"/>
          </p:cNvSpPr>
          <p:nvPr>
            <p:ph type="body" idx="1"/>
          </p:nvPr>
        </p:nvSpPr>
        <p:spPr>
          <a:xfrm>
            <a:off x="838200" y="1825625"/>
            <a:ext cx="10515600" cy="379624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816DB20-01DB-D84C-A74D-2C16DBBEB9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7106315B-BB5B-9F4C-96E0-DAFAB644F0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8D7268-6812-EE40-A071-66B15A590DC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0B49ED-3BDC-B645-964C-10CAC51D48A6}" type="slidenum">
              <a:rPr lang="en-US" smtClean="0"/>
              <a:t>‹#›</a:t>
            </a:fld>
            <a:endParaRPr lang="en-US"/>
          </a:p>
        </p:txBody>
      </p:sp>
      <p:pic>
        <p:nvPicPr>
          <p:cNvPr id="7" name="Picture 6">
            <a:extLst>
              <a:ext uri="{FF2B5EF4-FFF2-40B4-BE49-F238E27FC236}">
                <a16:creationId xmlns:a16="http://schemas.microsoft.com/office/drawing/2014/main" id="{8EAD00EF-584A-B74E-9B07-9D59591082B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15938" y="5871124"/>
            <a:ext cx="1645372" cy="484067"/>
          </a:xfrm>
          <a:prstGeom prst="rect">
            <a:avLst/>
          </a:prstGeom>
        </p:spPr>
      </p:pic>
    </p:spTree>
    <p:extLst>
      <p:ext uri="{BB962C8B-B14F-4D97-AF65-F5344CB8AC3E}">
        <p14:creationId xmlns:p14="http://schemas.microsoft.com/office/powerpoint/2010/main" val="3128073542"/>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Lst>
  <p:hf hdr="0" dt="0"/>
  <p:txStyles>
    <p:title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4"/>
        </a:buClr>
        <a:buFont typeface="Wingdings" pitchFamily="2" charset="2"/>
        <a:buChar char="§"/>
        <a:defRPr sz="2800" kern="1200">
          <a:solidFill>
            <a:srgbClr val="67676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4"/>
        </a:buClr>
        <a:buFont typeface="Wingdings" pitchFamily="2" charset="2"/>
        <a:buChar char="§"/>
        <a:defRPr sz="2400" kern="1200">
          <a:solidFill>
            <a:srgbClr val="67676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4"/>
        </a:buClr>
        <a:buFont typeface="Wingdings" pitchFamily="2" charset="2"/>
        <a:buChar char="§"/>
        <a:defRPr sz="2000" kern="1200">
          <a:solidFill>
            <a:srgbClr val="67676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4"/>
        </a:buClr>
        <a:buFont typeface="Wingdings" pitchFamily="2" charset="2"/>
        <a:buChar char="§"/>
        <a:defRPr sz="18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75.xml"/><Relationship Id="rId5" Type="http://schemas.openxmlformats.org/officeDocument/2006/relationships/image" Target="../media/image3.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79.xml"/><Relationship Id="rId5" Type="http://schemas.openxmlformats.org/officeDocument/2006/relationships/image" Target="../media/image13.sv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79.xml"/><Relationship Id="rId5" Type="http://schemas.openxmlformats.org/officeDocument/2006/relationships/image" Target="../media/image15.sv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79.xml"/><Relationship Id="rId5" Type="http://schemas.openxmlformats.org/officeDocument/2006/relationships/image" Target="../media/image17.sv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79.xml"/><Relationship Id="rId5" Type="http://schemas.openxmlformats.org/officeDocument/2006/relationships/image" Target="../media/image19.sv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8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15.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notesSlide" Target="../notesSlides/notesSlide4.xml"/><Relationship Id="rId1" Type="http://schemas.openxmlformats.org/officeDocument/2006/relationships/slideLayout" Target="../slideLayouts/slideLayout78.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svg"/></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80.xml"/><Relationship Id="rId5" Type="http://schemas.openxmlformats.org/officeDocument/2006/relationships/image" Target="../media/image11.emf"/><Relationship Id="rId4" Type="http://schemas.openxmlformats.org/officeDocument/2006/relationships/image" Target="../media/image1.pn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11.emf"/><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51.emf"/><Relationship Id="rId5" Type="http://schemas.openxmlformats.org/officeDocument/2006/relationships/image" Target="../media/image1.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11.emf"/><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Layout" Target="../slideLayouts/slideLayout79.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DB79C8-14BA-E60E-3F47-A35F8FE3C5C7}"/>
              </a:ext>
            </a:extLst>
          </p:cNvPr>
          <p:cNvSpPr/>
          <p:nvPr/>
        </p:nvSpPr>
        <p:spPr>
          <a:xfrm>
            <a:off x="0" y="0"/>
            <a:ext cx="12192000" cy="6858000"/>
          </a:xfrm>
          <a:prstGeom prst="rect">
            <a:avLst/>
          </a:prstGeom>
          <a:gradFill>
            <a:gsLst>
              <a:gs pos="0">
                <a:srgbClr val="000000">
                  <a:alpha val="0"/>
                </a:srgbClr>
              </a:gs>
              <a:gs pos="100000">
                <a:srgbClr val="000000">
                  <a:alpha val="59806"/>
                </a:srgbClr>
              </a:gs>
            </a:gsLst>
            <a:lin ang="10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5506B235-72F8-C744-9DF8-2D00DEE30257}"/>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4177862" y="0"/>
            <a:ext cx="8014138" cy="6858000"/>
          </a:xfrm>
          <a:prstGeom prst="rect">
            <a:avLst/>
          </a:prstGeom>
        </p:spPr>
      </p:pic>
      <p:pic>
        <p:nvPicPr>
          <p:cNvPr id="7" name="Picture 6">
            <a:extLst>
              <a:ext uri="{FF2B5EF4-FFF2-40B4-BE49-F238E27FC236}">
                <a16:creationId xmlns:a16="http://schemas.microsoft.com/office/drawing/2014/main" id="{9B160351-C839-134A-A296-FD93A2EADC2E}"/>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47600" y="140400"/>
            <a:ext cx="3619500" cy="1554480"/>
          </a:xfrm>
          <a:prstGeom prst="rect">
            <a:avLst/>
          </a:prstGeom>
        </p:spPr>
      </p:pic>
      <p:sp>
        <p:nvSpPr>
          <p:cNvPr id="6" name="TextBox 5">
            <a:extLst>
              <a:ext uri="{FF2B5EF4-FFF2-40B4-BE49-F238E27FC236}">
                <a16:creationId xmlns:a16="http://schemas.microsoft.com/office/drawing/2014/main" id="{DE82FAAC-F844-B6FF-4362-5B0B81D51E0B}"/>
              </a:ext>
            </a:extLst>
          </p:cNvPr>
          <p:cNvSpPr txBox="1"/>
          <p:nvPr/>
        </p:nvSpPr>
        <p:spPr>
          <a:xfrm>
            <a:off x="917599" y="2240503"/>
            <a:ext cx="10756900"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0" u="none" strike="noStrike" kern="1200" cap="none" spc="0" normalizeH="0" baseline="0" noProof="0" dirty="0">
                <a:ln>
                  <a:noFill/>
                </a:ln>
                <a:solidFill>
                  <a:srgbClr val="FFFFFF"/>
                </a:solidFill>
                <a:effectLst/>
                <a:uLnTx/>
                <a:uFillTx/>
                <a:latin typeface="Arial" panose="020B0604020202020204"/>
                <a:ea typeface="+mn-ea"/>
                <a:cs typeface="+mn-cs"/>
              </a:rPr>
              <a:t>STFC Update</a:t>
            </a:r>
          </a:p>
        </p:txBody>
      </p:sp>
      <p:sp>
        <p:nvSpPr>
          <p:cNvPr id="3" name="Rectangle 2">
            <a:extLst>
              <a:ext uri="{FF2B5EF4-FFF2-40B4-BE49-F238E27FC236}">
                <a16:creationId xmlns:a16="http://schemas.microsoft.com/office/drawing/2014/main" id="{8AD9EA2C-FFEF-DBA6-7660-D2189056B05E}"/>
              </a:ext>
            </a:extLst>
          </p:cNvPr>
          <p:cNvSpPr/>
          <p:nvPr/>
        </p:nvSpPr>
        <p:spPr>
          <a:xfrm>
            <a:off x="994654" y="5002119"/>
            <a:ext cx="6095463"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m Griffin, Director, Scientific Compu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a:t>
            </a:r>
            <a:r>
              <a:rPr kumimoji="0" lang="en-GB" sz="24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st</a:t>
            </a:r>
            <a:r>
              <a:rPr kumimoji="0" lang="en-GB"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July 2025</a:t>
            </a:r>
          </a:p>
        </p:txBody>
      </p:sp>
    </p:spTree>
    <p:extLst>
      <p:ext uri="{BB962C8B-B14F-4D97-AF65-F5344CB8AC3E}">
        <p14:creationId xmlns:p14="http://schemas.microsoft.com/office/powerpoint/2010/main" val="3325482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 name="Priorities of the DRI programme">
            <a:extLst>
              <a:ext uri="{FF2B5EF4-FFF2-40B4-BE49-F238E27FC236}">
                <a16:creationId xmlns:a16="http://schemas.microsoft.com/office/drawing/2014/main" id="{C728B945-CEA7-004C-8067-6316593D25DF}"/>
              </a:ext>
            </a:extLst>
          </p:cNvPr>
          <p:cNvSpPr>
            <a:spLocks noGrp="1"/>
          </p:cNvSpPr>
          <p:nvPr>
            <p:ph type="ctrTitle"/>
          </p:nvPr>
        </p:nvSpPr>
        <p:spPr>
          <a:xfrm>
            <a:off x="2209800" y="247392"/>
            <a:ext cx="7772400" cy="483509"/>
          </a:xfrm>
        </p:spPr>
        <p:txBody>
          <a:bodyPr>
            <a:noAutofit/>
          </a:bodyPr>
          <a:lstStyle/>
          <a:p>
            <a:r>
              <a:rPr lang="en-GB" sz="3200">
                <a:solidFill>
                  <a:srgbClr val="2E2D62"/>
                </a:solidFill>
                <a:latin typeface="Moderat Extended" pitchFamily="2" charset="77"/>
              </a:rPr>
              <a:t>Interconnected DRI</a:t>
            </a:r>
          </a:p>
        </p:txBody>
      </p:sp>
      <p:sp>
        <p:nvSpPr>
          <p:cNvPr id="5" name="Rectangle 4">
            <a:extLst>
              <a:ext uri="{FF2B5EF4-FFF2-40B4-BE49-F238E27FC236}">
                <a16:creationId xmlns:a16="http://schemas.microsoft.com/office/drawing/2014/main" id="{1F4381F2-1054-8E48-A3E4-0724D0D22070}"/>
              </a:ext>
            </a:extLst>
          </p:cNvPr>
          <p:cNvSpPr/>
          <p:nvPr/>
        </p:nvSpPr>
        <p:spPr>
          <a:xfrm>
            <a:off x="3048000" y="1746000"/>
            <a:ext cx="9144000" cy="5112000"/>
          </a:xfrm>
          <a:prstGeom prst="rect">
            <a:avLst/>
          </a:prstGeom>
          <a:solidFill>
            <a:srgbClr val="FBBB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ounded Rectangle 11">
            <a:extLst>
              <a:ext uri="{FF2B5EF4-FFF2-40B4-BE49-F238E27FC236}">
                <a16:creationId xmlns:a16="http://schemas.microsoft.com/office/drawing/2014/main" id="{EDFF081B-4F0F-E54D-BDD4-5D3C84D9C252}"/>
              </a:ext>
            </a:extLst>
          </p:cNvPr>
          <p:cNvSpPr/>
          <p:nvPr/>
        </p:nvSpPr>
        <p:spPr>
          <a:xfrm>
            <a:off x="2149643" y="1260001"/>
            <a:ext cx="4177266" cy="4383563"/>
          </a:xfrm>
          <a:prstGeom prst="roundRect">
            <a:avLst>
              <a:gd name="adj" fmla="val 2927"/>
            </a:avLst>
          </a:prstGeom>
          <a:solidFill>
            <a:schemeClr val="bg1"/>
          </a:solidFill>
          <a:ln w="38100">
            <a:solidFill>
              <a:srgbClr val="FF9D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Graphic 5">
            <a:extLst>
              <a:ext uri="{FF2B5EF4-FFF2-40B4-BE49-F238E27FC236}">
                <a16:creationId xmlns:a16="http://schemas.microsoft.com/office/drawing/2014/main" id="{3260C2B2-B2B9-D34A-B604-310F2B5B7BE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0239" t="4160" r="8315" b="30172"/>
          <a:stretch/>
        </p:blipFill>
        <p:spPr>
          <a:xfrm>
            <a:off x="5723612" y="1631748"/>
            <a:ext cx="4944389" cy="4460949"/>
          </a:xfrm>
          <a:prstGeom prst="rect">
            <a:avLst/>
          </a:prstGeom>
        </p:spPr>
      </p:pic>
      <p:sp>
        <p:nvSpPr>
          <p:cNvPr id="9" name="TextBox 8">
            <a:extLst>
              <a:ext uri="{FF2B5EF4-FFF2-40B4-BE49-F238E27FC236}">
                <a16:creationId xmlns:a16="http://schemas.microsoft.com/office/drawing/2014/main" id="{E6273378-A65A-7244-915D-448A5878B285}"/>
              </a:ext>
            </a:extLst>
          </p:cNvPr>
          <p:cNvSpPr txBox="1"/>
          <p:nvPr/>
        </p:nvSpPr>
        <p:spPr>
          <a:xfrm>
            <a:off x="2493527" y="2233290"/>
            <a:ext cx="3492745" cy="3054491"/>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We aim to break down silos and promote collaboration within the DRI landscape by creating a more interconnected, open, inclusive, </a:t>
            </a:r>
            <a:b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b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and user-friendly infrastructure. This involves fostering community engagement, promoting the creation of federated infrastructure and ensuring that DRI funding addresses the technical challenges of operating across disciplines.</a:t>
            </a:r>
          </a:p>
        </p:txBody>
      </p:sp>
      <p:pic>
        <p:nvPicPr>
          <p:cNvPr id="13" name="Graphic 12">
            <a:extLst>
              <a:ext uri="{FF2B5EF4-FFF2-40B4-BE49-F238E27FC236}">
                <a16:creationId xmlns:a16="http://schemas.microsoft.com/office/drawing/2014/main" id="{BD7D5966-E263-5C45-B344-398C3816A6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15703" y="1415428"/>
            <a:ext cx="659032" cy="656467"/>
          </a:xfrm>
          <a:prstGeom prst="rect">
            <a:avLst/>
          </a:prstGeom>
        </p:spPr>
      </p:pic>
    </p:spTree>
    <p:extLst>
      <p:ext uri="{BB962C8B-B14F-4D97-AF65-F5344CB8AC3E}">
        <p14:creationId xmlns:p14="http://schemas.microsoft.com/office/powerpoint/2010/main" val="37211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Priorities of the DRI programme">
            <a:extLst>
              <a:ext uri="{FF2B5EF4-FFF2-40B4-BE49-F238E27FC236}">
                <a16:creationId xmlns:a16="http://schemas.microsoft.com/office/drawing/2014/main" id="{412EF171-CD11-CA42-A9DA-19F979E47AC4}"/>
              </a:ext>
            </a:extLst>
          </p:cNvPr>
          <p:cNvSpPr>
            <a:spLocks noGrp="1"/>
          </p:cNvSpPr>
          <p:nvPr>
            <p:ph type="ctrTitle"/>
          </p:nvPr>
        </p:nvSpPr>
        <p:spPr>
          <a:xfrm>
            <a:off x="2209800" y="247392"/>
            <a:ext cx="7772400" cy="483509"/>
          </a:xfrm>
        </p:spPr>
        <p:txBody>
          <a:bodyPr>
            <a:noAutofit/>
          </a:bodyPr>
          <a:lstStyle/>
          <a:p>
            <a:r>
              <a:rPr lang="en-GB" sz="3200">
                <a:solidFill>
                  <a:srgbClr val="2E2D62"/>
                </a:solidFill>
                <a:latin typeface="Moderat Extended" pitchFamily="2" charset="77"/>
              </a:rPr>
              <a:t>Human DRI</a:t>
            </a:r>
          </a:p>
        </p:txBody>
      </p:sp>
      <p:sp>
        <p:nvSpPr>
          <p:cNvPr id="14" name="Rectangle 13">
            <a:extLst>
              <a:ext uri="{FF2B5EF4-FFF2-40B4-BE49-F238E27FC236}">
                <a16:creationId xmlns:a16="http://schemas.microsoft.com/office/drawing/2014/main" id="{FFB9BFC5-1A9B-C34E-B43F-6876D8741231}"/>
              </a:ext>
            </a:extLst>
          </p:cNvPr>
          <p:cNvSpPr/>
          <p:nvPr/>
        </p:nvSpPr>
        <p:spPr>
          <a:xfrm>
            <a:off x="3048000" y="1746000"/>
            <a:ext cx="9144000" cy="5112000"/>
          </a:xfrm>
          <a:prstGeom prst="rect">
            <a:avLst/>
          </a:prstGeom>
          <a:solidFill>
            <a:srgbClr val="00B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Graphic 3">
            <a:extLst>
              <a:ext uri="{FF2B5EF4-FFF2-40B4-BE49-F238E27FC236}">
                <a16:creationId xmlns:a16="http://schemas.microsoft.com/office/drawing/2014/main" id="{E9779F9E-3DEF-8B4B-9AAF-24866069BA92}"/>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b="10342"/>
          <a:stretch/>
        </p:blipFill>
        <p:spPr>
          <a:xfrm>
            <a:off x="1524000" y="772582"/>
            <a:ext cx="8267780" cy="5239419"/>
          </a:xfrm>
          <a:prstGeom prst="rect">
            <a:avLst/>
          </a:prstGeom>
        </p:spPr>
      </p:pic>
      <p:sp>
        <p:nvSpPr>
          <p:cNvPr id="20" name="Rounded Rectangle 19">
            <a:extLst>
              <a:ext uri="{FF2B5EF4-FFF2-40B4-BE49-F238E27FC236}">
                <a16:creationId xmlns:a16="http://schemas.microsoft.com/office/drawing/2014/main" id="{69F28454-0439-B243-933A-1F657A4C3CB1}"/>
              </a:ext>
            </a:extLst>
          </p:cNvPr>
          <p:cNvSpPr/>
          <p:nvPr/>
        </p:nvSpPr>
        <p:spPr>
          <a:xfrm>
            <a:off x="5908843" y="1489459"/>
            <a:ext cx="4177266" cy="3729086"/>
          </a:xfrm>
          <a:prstGeom prst="roundRect">
            <a:avLst>
              <a:gd name="adj" fmla="val 2927"/>
            </a:avLst>
          </a:prstGeom>
          <a:solidFill>
            <a:schemeClr val="bg1"/>
          </a:solidFill>
          <a:ln w="38100">
            <a:solidFill>
              <a:srgbClr val="386A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D52FFED7-8662-BF4E-ADA0-F222682EB12F}"/>
              </a:ext>
            </a:extLst>
          </p:cNvPr>
          <p:cNvSpPr txBox="1"/>
          <p:nvPr/>
        </p:nvSpPr>
        <p:spPr>
          <a:xfrm>
            <a:off x="6252728" y="2565799"/>
            <a:ext cx="3673593" cy="224196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We understand that DRI starts with the people that build, maintain, and upgrade it. By recognising their crucial role within DRI, promoting their careers, and supporting their professional development, we aim to foster a supportive culture and ensure a skilled and diverse DRI workforce.</a:t>
            </a:r>
          </a:p>
        </p:txBody>
      </p:sp>
      <p:pic>
        <p:nvPicPr>
          <p:cNvPr id="23" name="Graphic 22">
            <a:extLst>
              <a:ext uri="{FF2B5EF4-FFF2-40B4-BE49-F238E27FC236}">
                <a16:creationId xmlns:a16="http://schemas.microsoft.com/office/drawing/2014/main" id="{9C90DFA5-6FCA-9D40-9D01-FEF9891065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41321" y="1613677"/>
            <a:ext cx="716917" cy="716917"/>
          </a:xfrm>
          <a:prstGeom prst="rect">
            <a:avLst/>
          </a:prstGeom>
        </p:spPr>
      </p:pic>
    </p:spTree>
    <p:extLst>
      <p:ext uri="{BB962C8B-B14F-4D97-AF65-F5344CB8AC3E}">
        <p14:creationId xmlns:p14="http://schemas.microsoft.com/office/powerpoint/2010/main" val="3041760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Priorities of the DRI programme">
            <a:extLst>
              <a:ext uri="{FF2B5EF4-FFF2-40B4-BE49-F238E27FC236}">
                <a16:creationId xmlns:a16="http://schemas.microsoft.com/office/drawing/2014/main" id="{35314B39-12EA-7249-8A77-B351C8D136C2}"/>
              </a:ext>
            </a:extLst>
          </p:cNvPr>
          <p:cNvSpPr>
            <a:spLocks noGrp="1"/>
          </p:cNvSpPr>
          <p:nvPr>
            <p:ph type="ctrTitle"/>
          </p:nvPr>
        </p:nvSpPr>
        <p:spPr>
          <a:xfrm>
            <a:off x="2209800" y="247392"/>
            <a:ext cx="7772400" cy="483509"/>
          </a:xfrm>
        </p:spPr>
        <p:txBody>
          <a:bodyPr>
            <a:noAutofit/>
          </a:bodyPr>
          <a:lstStyle/>
          <a:p>
            <a:r>
              <a:rPr lang="en-GB" sz="3200">
                <a:solidFill>
                  <a:srgbClr val="2E2D62"/>
                </a:solidFill>
                <a:latin typeface="Moderat Extended" pitchFamily="2" charset="77"/>
              </a:rPr>
              <a:t>FAIR DRI</a:t>
            </a:r>
          </a:p>
        </p:txBody>
      </p:sp>
      <p:sp>
        <p:nvSpPr>
          <p:cNvPr id="12" name="Rectangle 11">
            <a:extLst>
              <a:ext uri="{FF2B5EF4-FFF2-40B4-BE49-F238E27FC236}">
                <a16:creationId xmlns:a16="http://schemas.microsoft.com/office/drawing/2014/main" id="{6BEB5EF3-39D1-DB42-9B57-DD94DBF89A33}"/>
              </a:ext>
            </a:extLst>
          </p:cNvPr>
          <p:cNvSpPr/>
          <p:nvPr/>
        </p:nvSpPr>
        <p:spPr>
          <a:xfrm>
            <a:off x="3048000" y="1748456"/>
            <a:ext cx="9144000" cy="5112000"/>
          </a:xfrm>
          <a:prstGeom prst="rect">
            <a:avLst/>
          </a:prstGeom>
          <a:solidFill>
            <a:srgbClr val="FF5A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Graphic 2">
            <a:extLst>
              <a:ext uri="{FF2B5EF4-FFF2-40B4-BE49-F238E27FC236}">
                <a16:creationId xmlns:a16="http://schemas.microsoft.com/office/drawing/2014/main" id="{B0D68EA6-0339-1649-8395-940BB19A2F3E}"/>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18476" r="21460"/>
          <a:stretch/>
        </p:blipFill>
        <p:spPr>
          <a:xfrm>
            <a:off x="3824109" y="900001"/>
            <a:ext cx="6843891" cy="5021117"/>
          </a:xfrm>
          <a:prstGeom prst="rect">
            <a:avLst/>
          </a:prstGeom>
        </p:spPr>
      </p:pic>
      <p:sp>
        <p:nvSpPr>
          <p:cNvPr id="13" name="Rounded Rectangle 12">
            <a:extLst>
              <a:ext uri="{FF2B5EF4-FFF2-40B4-BE49-F238E27FC236}">
                <a16:creationId xmlns:a16="http://schemas.microsoft.com/office/drawing/2014/main" id="{C727DCAB-6976-944B-9AB2-1D83D2E7536F}"/>
              </a:ext>
            </a:extLst>
          </p:cNvPr>
          <p:cNvSpPr/>
          <p:nvPr/>
        </p:nvSpPr>
        <p:spPr>
          <a:xfrm>
            <a:off x="2149643" y="1719068"/>
            <a:ext cx="4177266" cy="3451997"/>
          </a:xfrm>
          <a:prstGeom prst="roundRect">
            <a:avLst>
              <a:gd name="adj" fmla="val 2927"/>
            </a:avLst>
          </a:prstGeom>
          <a:solidFill>
            <a:schemeClr val="bg1"/>
          </a:solidFill>
          <a:ln w="38100">
            <a:solidFill>
              <a:srgbClr val="C13D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34F49CF2-4836-BE4B-B289-1F368A2F4FAA}"/>
              </a:ext>
            </a:extLst>
          </p:cNvPr>
          <p:cNvSpPr txBox="1"/>
          <p:nvPr/>
        </p:nvSpPr>
        <p:spPr>
          <a:xfrm>
            <a:off x="2493527" y="2841592"/>
            <a:ext cx="3524138" cy="197111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We will ensure that research infrastructure is easily accessible, interoperable, and reusable by driving adoption of the FAIR principles, enhancing research efficiency, and fostering a more collaborative research environment.</a:t>
            </a:r>
          </a:p>
        </p:txBody>
      </p:sp>
      <p:pic>
        <p:nvPicPr>
          <p:cNvPr id="18" name="Graphic 17">
            <a:extLst>
              <a:ext uri="{FF2B5EF4-FFF2-40B4-BE49-F238E27FC236}">
                <a16:creationId xmlns:a16="http://schemas.microsoft.com/office/drawing/2014/main" id="{6C4CF267-CB26-6945-9F04-B9A04D24487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80637" y="1897463"/>
            <a:ext cx="700926" cy="700926"/>
          </a:xfrm>
          <a:prstGeom prst="rect">
            <a:avLst/>
          </a:prstGeom>
        </p:spPr>
      </p:pic>
    </p:spTree>
    <p:extLst>
      <p:ext uri="{BB962C8B-B14F-4D97-AF65-F5344CB8AC3E}">
        <p14:creationId xmlns:p14="http://schemas.microsoft.com/office/powerpoint/2010/main" val="38405572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Priorities of the DRI programme">
            <a:extLst>
              <a:ext uri="{FF2B5EF4-FFF2-40B4-BE49-F238E27FC236}">
                <a16:creationId xmlns:a16="http://schemas.microsoft.com/office/drawing/2014/main" id="{F4290642-65B9-8B49-9AEF-0908270569ED}"/>
              </a:ext>
            </a:extLst>
          </p:cNvPr>
          <p:cNvSpPr>
            <a:spLocks noGrp="1"/>
          </p:cNvSpPr>
          <p:nvPr>
            <p:ph type="ctrTitle"/>
          </p:nvPr>
        </p:nvSpPr>
        <p:spPr>
          <a:xfrm>
            <a:off x="2209800" y="247392"/>
            <a:ext cx="7772400" cy="483509"/>
          </a:xfrm>
        </p:spPr>
        <p:txBody>
          <a:bodyPr>
            <a:noAutofit/>
          </a:bodyPr>
          <a:lstStyle/>
          <a:p>
            <a:r>
              <a:rPr lang="en-GB" sz="3600">
                <a:solidFill>
                  <a:srgbClr val="2E2D62"/>
                </a:solidFill>
                <a:latin typeface="Moderat Extended" pitchFamily="2" charset="77"/>
              </a:rPr>
              <a:t>Sustainable DRI</a:t>
            </a:r>
          </a:p>
        </p:txBody>
      </p:sp>
      <p:sp>
        <p:nvSpPr>
          <p:cNvPr id="7" name="Rectangle 6">
            <a:extLst>
              <a:ext uri="{FF2B5EF4-FFF2-40B4-BE49-F238E27FC236}">
                <a16:creationId xmlns:a16="http://schemas.microsoft.com/office/drawing/2014/main" id="{B1789E41-9734-554D-9B40-E625E4AE938A}"/>
              </a:ext>
            </a:extLst>
          </p:cNvPr>
          <p:cNvSpPr/>
          <p:nvPr/>
        </p:nvSpPr>
        <p:spPr>
          <a:xfrm>
            <a:off x="3048000" y="1746000"/>
            <a:ext cx="9144000" cy="5112000"/>
          </a:xfrm>
          <a:prstGeom prst="rect">
            <a:avLst/>
          </a:prstGeom>
          <a:solidFill>
            <a:srgbClr val="34D5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 name="Graphic 2">
            <a:extLst>
              <a:ext uri="{FF2B5EF4-FFF2-40B4-BE49-F238E27FC236}">
                <a16:creationId xmlns:a16="http://schemas.microsoft.com/office/drawing/2014/main" id="{5C2BAA38-C062-D543-8DD7-4DD1C82EADE4}"/>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3870" t="20008" r="9354" b="12509"/>
          <a:stretch/>
        </p:blipFill>
        <p:spPr>
          <a:xfrm>
            <a:off x="1524000" y="985728"/>
            <a:ext cx="9144000" cy="5026272"/>
          </a:xfrm>
          <a:prstGeom prst="rect">
            <a:avLst/>
          </a:prstGeom>
        </p:spPr>
      </p:pic>
      <p:sp>
        <p:nvSpPr>
          <p:cNvPr id="17" name="Rounded Rectangle 16">
            <a:extLst>
              <a:ext uri="{FF2B5EF4-FFF2-40B4-BE49-F238E27FC236}">
                <a16:creationId xmlns:a16="http://schemas.microsoft.com/office/drawing/2014/main" id="{975C83A4-FA68-064D-A890-F204BA92CDCB}"/>
              </a:ext>
            </a:extLst>
          </p:cNvPr>
          <p:cNvSpPr/>
          <p:nvPr/>
        </p:nvSpPr>
        <p:spPr>
          <a:xfrm>
            <a:off x="5908843" y="1846646"/>
            <a:ext cx="4177266" cy="2969234"/>
          </a:xfrm>
          <a:prstGeom prst="roundRect">
            <a:avLst>
              <a:gd name="adj" fmla="val 2927"/>
            </a:avLst>
          </a:prstGeom>
          <a:solidFill>
            <a:schemeClr val="bg1"/>
          </a:solidFill>
          <a:ln w="38100">
            <a:solidFill>
              <a:srgbClr val="00A7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E25D000B-4E0B-A549-BF38-638F4661EF99}"/>
              </a:ext>
            </a:extLst>
          </p:cNvPr>
          <p:cNvSpPr txBox="1"/>
          <p:nvPr/>
        </p:nvSpPr>
        <p:spPr>
          <a:xfrm>
            <a:off x="6252727" y="2969169"/>
            <a:ext cx="3453768" cy="1429430"/>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We focus on ensuring the long-term health of DRI by addressing efficiency, security, environmental and financial challenges to create </a:t>
            </a:r>
            <a:b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br>
            <a:r>
              <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a sustainable DRI ecosystem. </a:t>
            </a:r>
          </a:p>
        </p:txBody>
      </p:sp>
      <p:pic>
        <p:nvPicPr>
          <p:cNvPr id="18" name="Graphic 17">
            <a:extLst>
              <a:ext uri="{FF2B5EF4-FFF2-40B4-BE49-F238E27FC236}">
                <a16:creationId xmlns:a16="http://schemas.microsoft.com/office/drawing/2014/main" id="{B70BCE64-80FE-784A-B28B-D27361EA393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95403" y="2056532"/>
            <a:ext cx="664523" cy="664523"/>
          </a:xfrm>
          <a:prstGeom prst="rect">
            <a:avLst/>
          </a:prstGeom>
        </p:spPr>
      </p:pic>
    </p:spTree>
    <p:extLst>
      <p:ext uri="{BB962C8B-B14F-4D97-AF65-F5344CB8AC3E}">
        <p14:creationId xmlns:p14="http://schemas.microsoft.com/office/powerpoint/2010/main" val="3089810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EDD6C3-68F1-2FB1-BDCC-B40109B76D3A}"/>
              </a:ext>
            </a:extLst>
          </p:cNvPr>
          <p:cNvSpPr/>
          <p:nvPr/>
        </p:nvSpPr>
        <p:spPr>
          <a:xfrm>
            <a:off x="394462" y="5471981"/>
            <a:ext cx="2472563" cy="13330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8FDE096E-85ED-3C57-5F89-FC51DF0502EE}"/>
              </a:ext>
            </a:extLst>
          </p:cNvPr>
          <p:cNvSpPr txBox="1"/>
          <p:nvPr/>
        </p:nvSpPr>
        <p:spPr>
          <a:xfrm>
            <a:off x="394462" y="267169"/>
            <a:ext cx="11580704" cy="73866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200" b="1" i="0" u="none" strike="noStrike" kern="1200" cap="none" spc="-150" normalizeH="0" baseline="0" noProof="0">
                <a:ln>
                  <a:noFill/>
                </a:ln>
                <a:solidFill>
                  <a:srgbClr val="2E2D62"/>
                </a:solidFill>
                <a:effectLst/>
                <a:uLnTx/>
                <a:uFillTx/>
                <a:latin typeface="Arial" panose="020B0604020202020204"/>
                <a:ea typeface="+mn-ea"/>
                <a:cs typeface="Arial"/>
              </a:rPr>
              <a:t>Our vision and approach for DRI </a:t>
            </a:r>
          </a:p>
        </p:txBody>
      </p:sp>
      <p:grpSp>
        <p:nvGrpSpPr>
          <p:cNvPr id="13" name="Group 12">
            <a:extLst>
              <a:ext uri="{FF2B5EF4-FFF2-40B4-BE49-F238E27FC236}">
                <a16:creationId xmlns:a16="http://schemas.microsoft.com/office/drawing/2014/main" id="{3EFF0C9C-A19C-953D-D189-007713B03672}"/>
              </a:ext>
            </a:extLst>
          </p:cNvPr>
          <p:cNvGrpSpPr/>
          <p:nvPr/>
        </p:nvGrpSpPr>
        <p:grpSpPr>
          <a:xfrm>
            <a:off x="959434" y="1386443"/>
            <a:ext cx="4943475" cy="5022632"/>
            <a:chOff x="1072054" y="1363717"/>
            <a:chExt cx="3520966" cy="4480035"/>
          </a:xfrm>
        </p:grpSpPr>
        <p:sp>
          <p:nvSpPr>
            <p:cNvPr id="4" name="Rectangle: Rounded Corners 3">
              <a:extLst>
                <a:ext uri="{FF2B5EF4-FFF2-40B4-BE49-F238E27FC236}">
                  <a16:creationId xmlns:a16="http://schemas.microsoft.com/office/drawing/2014/main" id="{6A7EA118-D6BE-D995-1583-B8D67D519CA3}"/>
                </a:ext>
              </a:extLst>
            </p:cNvPr>
            <p:cNvSpPr/>
            <p:nvPr/>
          </p:nvSpPr>
          <p:spPr>
            <a:xfrm>
              <a:off x="1072054" y="1484586"/>
              <a:ext cx="3316015" cy="4359166"/>
            </a:xfrm>
            <a:prstGeom prst="roundRect">
              <a:avLst/>
            </a:prstGeom>
            <a:solidFill>
              <a:schemeClr val="accent3">
                <a:lumMod val="20000"/>
                <a:lumOff val="80000"/>
              </a:schemeClr>
            </a:solidFill>
            <a:ln>
              <a:solidFill>
                <a:schemeClr val="accent3">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8F077CBA-11F2-7E2A-1EA8-5EBAD52E4DD2}"/>
                </a:ext>
              </a:extLst>
            </p:cNvPr>
            <p:cNvSpPr/>
            <p:nvPr/>
          </p:nvSpPr>
          <p:spPr>
            <a:xfrm>
              <a:off x="1277005" y="1363717"/>
              <a:ext cx="3316015" cy="4359166"/>
            </a:xfrm>
            <a:prstGeom prst="roundRect">
              <a:avLst/>
            </a:prstGeom>
            <a:no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7" name="Graphic 6" descr="Eye outline">
              <a:extLst>
                <a:ext uri="{FF2B5EF4-FFF2-40B4-BE49-F238E27FC236}">
                  <a16:creationId xmlns:a16="http://schemas.microsoft.com/office/drawing/2014/main" id="{5B60407B-8692-5116-ABDC-E1EE6831DB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21624" y="1484586"/>
              <a:ext cx="1064172" cy="1064172"/>
            </a:xfrm>
            <a:prstGeom prst="rect">
              <a:avLst/>
            </a:prstGeom>
          </p:spPr>
        </p:pic>
        <p:sp>
          <p:nvSpPr>
            <p:cNvPr id="8" name="TextBox 7">
              <a:extLst>
                <a:ext uri="{FF2B5EF4-FFF2-40B4-BE49-F238E27FC236}">
                  <a16:creationId xmlns:a16="http://schemas.microsoft.com/office/drawing/2014/main" id="{C9233C22-00C8-61C2-1E3F-F20E3CEC7620}"/>
                </a:ext>
              </a:extLst>
            </p:cNvPr>
            <p:cNvSpPr txBox="1"/>
            <p:nvPr/>
          </p:nvSpPr>
          <p:spPr>
            <a:xfrm>
              <a:off x="2054772" y="2364092"/>
              <a:ext cx="13978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panose="020B0604020202020204"/>
                  <a:ea typeface="+mn-ea"/>
                  <a:cs typeface="+mn-cs"/>
                </a:rPr>
                <a:t>Our Vision</a:t>
              </a:r>
            </a:p>
          </p:txBody>
        </p:sp>
        <p:cxnSp>
          <p:nvCxnSpPr>
            <p:cNvPr id="10" name="Straight Connector 9">
              <a:extLst>
                <a:ext uri="{FF2B5EF4-FFF2-40B4-BE49-F238E27FC236}">
                  <a16:creationId xmlns:a16="http://schemas.microsoft.com/office/drawing/2014/main" id="{463A8C5B-0CC1-B0D4-7DF6-A3F6A868871B}"/>
                </a:ext>
              </a:extLst>
            </p:cNvPr>
            <p:cNvCxnSpPr/>
            <p:nvPr/>
          </p:nvCxnSpPr>
          <p:spPr>
            <a:xfrm>
              <a:off x="2054772" y="2827283"/>
              <a:ext cx="151874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492F808D-1981-F9E8-CEB2-3A25BF0D8373}"/>
                </a:ext>
              </a:extLst>
            </p:cNvPr>
            <p:cNvSpPr txBox="1"/>
            <p:nvPr/>
          </p:nvSpPr>
          <p:spPr>
            <a:xfrm>
              <a:off x="1383094" y="3114000"/>
              <a:ext cx="2862099" cy="22785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Arial" panose="020B0604020202020204"/>
                  <a:ea typeface="+mn-ea"/>
                  <a:cs typeface="+mn-cs"/>
                </a:rPr>
                <a:t>A coherent state-of-the-art national Digital Research Infrastructure (DRI) that will seamlessly connect researchers and innovators to the computers, data, tools, techniques and skills that underpin the most ambitious and creative research</a:t>
              </a:r>
            </a:p>
          </p:txBody>
        </p:sp>
      </p:grpSp>
      <p:grpSp>
        <p:nvGrpSpPr>
          <p:cNvPr id="14" name="Group 13">
            <a:extLst>
              <a:ext uri="{FF2B5EF4-FFF2-40B4-BE49-F238E27FC236}">
                <a16:creationId xmlns:a16="http://schemas.microsoft.com/office/drawing/2014/main" id="{F5AC8487-0852-823B-5E6B-60CFD6FAC6B6}"/>
              </a:ext>
            </a:extLst>
          </p:cNvPr>
          <p:cNvGrpSpPr/>
          <p:nvPr/>
        </p:nvGrpSpPr>
        <p:grpSpPr>
          <a:xfrm>
            <a:off x="6289090" y="1383016"/>
            <a:ext cx="4943475" cy="5022632"/>
            <a:chOff x="1072054" y="1363717"/>
            <a:chExt cx="3520966" cy="4480035"/>
          </a:xfrm>
        </p:grpSpPr>
        <p:sp>
          <p:nvSpPr>
            <p:cNvPr id="15" name="Rectangle: Rounded Corners 14">
              <a:extLst>
                <a:ext uri="{FF2B5EF4-FFF2-40B4-BE49-F238E27FC236}">
                  <a16:creationId xmlns:a16="http://schemas.microsoft.com/office/drawing/2014/main" id="{1D65942E-2BB3-A3D2-0DFF-0708B72E89DC}"/>
                </a:ext>
              </a:extLst>
            </p:cNvPr>
            <p:cNvSpPr/>
            <p:nvPr/>
          </p:nvSpPr>
          <p:spPr>
            <a:xfrm>
              <a:off x="1072054" y="1484586"/>
              <a:ext cx="3316015" cy="4359166"/>
            </a:xfrm>
            <a:prstGeom prst="roundRect">
              <a:avLst/>
            </a:prstGeom>
            <a:solidFill>
              <a:schemeClr val="accent2">
                <a:lumMod val="20000"/>
                <a:lumOff val="80000"/>
              </a:schemeClr>
            </a:solidFill>
            <a:ln>
              <a:solidFill>
                <a:schemeClr val="accent3">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Rounded Corners 15">
              <a:extLst>
                <a:ext uri="{FF2B5EF4-FFF2-40B4-BE49-F238E27FC236}">
                  <a16:creationId xmlns:a16="http://schemas.microsoft.com/office/drawing/2014/main" id="{69197704-48D9-9CC0-8591-8B71E36A722B}"/>
                </a:ext>
              </a:extLst>
            </p:cNvPr>
            <p:cNvSpPr/>
            <p:nvPr/>
          </p:nvSpPr>
          <p:spPr>
            <a:xfrm>
              <a:off x="1277005" y="1363717"/>
              <a:ext cx="3316015" cy="4359166"/>
            </a:xfrm>
            <a:prstGeom prst="roundRect">
              <a:avLst/>
            </a:prstGeom>
            <a:no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FC2EECFF-36D2-DECA-68EF-F9E6890E262F}"/>
                </a:ext>
              </a:extLst>
            </p:cNvPr>
            <p:cNvSpPr txBox="1"/>
            <p:nvPr/>
          </p:nvSpPr>
          <p:spPr>
            <a:xfrm>
              <a:off x="2054771" y="2364092"/>
              <a:ext cx="1723697" cy="32943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solidFill>
                  <a:effectLst/>
                  <a:uLnTx/>
                  <a:uFillTx/>
                  <a:latin typeface="Arial" panose="020B0604020202020204"/>
                  <a:ea typeface="+mn-ea"/>
                  <a:cs typeface="+mn-cs"/>
                </a:rPr>
                <a:t>Our Approach</a:t>
              </a:r>
            </a:p>
          </p:txBody>
        </p:sp>
        <p:cxnSp>
          <p:nvCxnSpPr>
            <p:cNvPr id="19" name="Straight Connector 18">
              <a:extLst>
                <a:ext uri="{FF2B5EF4-FFF2-40B4-BE49-F238E27FC236}">
                  <a16:creationId xmlns:a16="http://schemas.microsoft.com/office/drawing/2014/main" id="{FE3D13B3-BA76-D532-F734-5BF02F473017}"/>
                </a:ext>
              </a:extLst>
            </p:cNvPr>
            <p:cNvCxnSpPr/>
            <p:nvPr/>
          </p:nvCxnSpPr>
          <p:spPr>
            <a:xfrm>
              <a:off x="2054772" y="2827283"/>
              <a:ext cx="151874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6714458-CB3E-57DB-49C2-C837EB02384A}"/>
                </a:ext>
              </a:extLst>
            </p:cNvPr>
            <p:cNvSpPr txBox="1"/>
            <p:nvPr/>
          </p:nvSpPr>
          <p:spPr>
            <a:xfrm>
              <a:off x="1371053" y="2899639"/>
              <a:ext cx="2958991" cy="28276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0000"/>
                  </a:solidFill>
                  <a:effectLst/>
                  <a:uLnTx/>
                  <a:uFillTx/>
                  <a:latin typeface="Arial" panose="020B0604020202020204"/>
                  <a:ea typeface="+mn-ea"/>
                  <a:cs typeface="+mn-cs"/>
                </a:rPr>
                <a:t>The DRI ecosystem includes large-scale computing, data storage, facilities, software, networks, skilled DRI professionals, and other components. Working across UKRI, we will evolve existing infrastructures to support new communities of practice and, subject to funding, by investing in new capabilities.</a:t>
              </a:r>
            </a:p>
          </p:txBody>
        </p:sp>
      </p:grpSp>
      <p:pic>
        <p:nvPicPr>
          <p:cNvPr id="22" name="Graphic 21" descr="Bullseye outline">
            <a:extLst>
              <a:ext uri="{FF2B5EF4-FFF2-40B4-BE49-F238E27FC236}">
                <a16:creationId xmlns:a16="http://schemas.microsoft.com/office/drawing/2014/main" id="{DBEB7B22-F030-C61E-6550-C2981990C71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91218" y="1622284"/>
            <a:ext cx="885694" cy="885694"/>
          </a:xfrm>
          <a:prstGeom prst="rect">
            <a:avLst/>
          </a:prstGeom>
        </p:spPr>
      </p:pic>
    </p:spTree>
    <p:extLst>
      <p:ext uri="{BB962C8B-B14F-4D97-AF65-F5344CB8AC3E}">
        <p14:creationId xmlns:p14="http://schemas.microsoft.com/office/powerpoint/2010/main" val="337080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AB6A3-DBD2-3F44-CE8C-B4FB9189CE09}"/>
              </a:ext>
            </a:extLst>
          </p:cNvPr>
          <p:cNvSpPr txBox="1">
            <a:spLocks/>
          </p:cNvSpPr>
          <p:nvPr/>
        </p:nvSpPr>
        <p:spPr>
          <a:xfrm>
            <a:off x="201223" y="349827"/>
            <a:ext cx="10647289" cy="608962"/>
          </a:xfrm>
          <a:prstGeom prst="rect">
            <a:avLst/>
          </a:prstGeom>
        </p:spPr>
        <p:txBody>
          <a:bodyPr lIns="91440" tIns="45720" rIns="91440" bIns="45720" anchor="t"/>
          <a:lstStyle>
            <a:lvl1pPr algn="l" defTabSz="914400" rtl="0" eaLnBrk="1" latinLnBrk="0" hangingPunct="1">
              <a:lnSpc>
                <a:spcPct val="90000"/>
              </a:lnSpc>
              <a:spcBef>
                <a:spcPct val="0"/>
              </a:spcBef>
              <a:buNone/>
              <a:defRPr sz="4400" b="1" kern="1200">
                <a:solidFill>
                  <a:schemeClr val="accent4"/>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150" normalizeH="0" baseline="0" noProof="0">
                <a:ln>
                  <a:noFill/>
                </a:ln>
                <a:solidFill>
                  <a:srgbClr val="2E2D62"/>
                </a:solidFill>
                <a:effectLst/>
                <a:uLnTx/>
                <a:uFillTx/>
                <a:latin typeface="Arial"/>
                <a:ea typeface="+mj-ea"/>
                <a:cs typeface="Arial"/>
              </a:rPr>
              <a:t>Summary of Phase 2 Portfolio</a:t>
            </a:r>
          </a:p>
        </p:txBody>
      </p:sp>
      <p:sp>
        <p:nvSpPr>
          <p:cNvPr id="3" name="Rectangle 2">
            <a:extLst>
              <a:ext uri="{FF2B5EF4-FFF2-40B4-BE49-F238E27FC236}">
                <a16:creationId xmlns:a16="http://schemas.microsoft.com/office/drawing/2014/main" id="{A1EC848B-7C66-A6EE-49D3-C8D3E68F9666}"/>
              </a:ext>
            </a:extLst>
          </p:cNvPr>
          <p:cNvSpPr/>
          <p:nvPr/>
        </p:nvSpPr>
        <p:spPr>
          <a:xfrm>
            <a:off x="1205729" y="1200937"/>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8D7A8AF8-12CD-8D2C-9FE0-9AC9DD64B56E}"/>
              </a:ext>
            </a:extLst>
          </p:cNvPr>
          <p:cNvSpPr/>
          <p:nvPr/>
        </p:nvSpPr>
        <p:spPr>
          <a:xfrm>
            <a:off x="4694799" y="1207363"/>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87834B11-2774-099A-3450-5DC1B492C9A0}"/>
              </a:ext>
            </a:extLst>
          </p:cNvPr>
          <p:cNvSpPr/>
          <p:nvPr/>
        </p:nvSpPr>
        <p:spPr>
          <a:xfrm>
            <a:off x="8188156" y="1207363"/>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9FB1DE7B-28A0-1756-A39C-38EB35BE310B}"/>
              </a:ext>
            </a:extLst>
          </p:cNvPr>
          <p:cNvSpPr/>
          <p:nvPr/>
        </p:nvSpPr>
        <p:spPr>
          <a:xfrm>
            <a:off x="2734317" y="3935259"/>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560C5961-1B11-9195-FB1F-2B8F62C46A08}"/>
              </a:ext>
            </a:extLst>
          </p:cNvPr>
          <p:cNvSpPr/>
          <p:nvPr/>
        </p:nvSpPr>
        <p:spPr>
          <a:xfrm>
            <a:off x="6520637" y="3935259"/>
            <a:ext cx="2399936" cy="2485748"/>
          </a:xfrm>
          <a:prstGeom prst="rect">
            <a:avLst/>
          </a:prstGeom>
          <a:solidFill>
            <a:schemeClr val="bg1"/>
          </a:solidFill>
          <a:ln w="19050">
            <a:solidFill>
              <a:srgbClr val="2E2D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35" name="Group 34">
            <a:extLst>
              <a:ext uri="{FF2B5EF4-FFF2-40B4-BE49-F238E27FC236}">
                <a16:creationId xmlns:a16="http://schemas.microsoft.com/office/drawing/2014/main" id="{BC50F4A4-58B5-90D0-590D-11128DD621D1}"/>
              </a:ext>
            </a:extLst>
          </p:cNvPr>
          <p:cNvGrpSpPr/>
          <p:nvPr/>
        </p:nvGrpSpPr>
        <p:grpSpPr>
          <a:xfrm>
            <a:off x="7733177" y="1372300"/>
            <a:ext cx="909957" cy="863988"/>
            <a:chOff x="8183727" y="1366853"/>
            <a:chExt cx="736846" cy="695812"/>
          </a:xfrm>
        </p:grpSpPr>
        <p:sp>
          <p:nvSpPr>
            <p:cNvPr id="24" name="Rectangle 23">
              <a:extLst>
                <a:ext uri="{FF2B5EF4-FFF2-40B4-BE49-F238E27FC236}">
                  <a16:creationId xmlns:a16="http://schemas.microsoft.com/office/drawing/2014/main" id="{1D0BE2F7-0A0A-B580-E9B8-495C0C5098EC}"/>
                </a:ext>
              </a:extLst>
            </p:cNvPr>
            <p:cNvSpPr/>
            <p:nvPr/>
          </p:nvSpPr>
          <p:spPr>
            <a:xfrm>
              <a:off x="8183727" y="1366853"/>
              <a:ext cx="736846" cy="695812"/>
            </a:xfrm>
            <a:prstGeom prst="rect">
              <a:avLst/>
            </a:prstGeom>
            <a:solidFill>
              <a:srgbClr val="861E84"/>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Graphic 7" descr="Internet Of Things with solid fill">
              <a:extLst>
                <a:ext uri="{FF2B5EF4-FFF2-40B4-BE49-F238E27FC236}">
                  <a16:creationId xmlns:a16="http://schemas.microsoft.com/office/drawing/2014/main" id="{8988A081-9039-10CF-7FBB-DE1E42CC85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99557" y="1464297"/>
              <a:ext cx="522942" cy="522942"/>
            </a:xfrm>
            <a:prstGeom prst="rect">
              <a:avLst/>
            </a:prstGeom>
          </p:spPr>
        </p:pic>
      </p:grpSp>
      <p:grpSp>
        <p:nvGrpSpPr>
          <p:cNvPr id="34" name="Group 33">
            <a:extLst>
              <a:ext uri="{FF2B5EF4-FFF2-40B4-BE49-F238E27FC236}">
                <a16:creationId xmlns:a16="http://schemas.microsoft.com/office/drawing/2014/main" id="{0E0BBDC6-DE44-941A-E591-45F06AAADCC1}"/>
              </a:ext>
            </a:extLst>
          </p:cNvPr>
          <p:cNvGrpSpPr/>
          <p:nvPr/>
        </p:nvGrpSpPr>
        <p:grpSpPr>
          <a:xfrm>
            <a:off x="4239820" y="1351685"/>
            <a:ext cx="909957" cy="863988"/>
            <a:chOff x="4397407" y="1361588"/>
            <a:chExt cx="736846" cy="695812"/>
          </a:xfrm>
        </p:grpSpPr>
        <p:sp>
          <p:nvSpPr>
            <p:cNvPr id="22" name="Rectangle 21">
              <a:extLst>
                <a:ext uri="{FF2B5EF4-FFF2-40B4-BE49-F238E27FC236}">
                  <a16:creationId xmlns:a16="http://schemas.microsoft.com/office/drawing/2014/main" id="{8F1C8DF7-943F-0525-E9B7-9D647E2762C7}"/>
                </a:ext>
              </a:extLst>
            </p:cNvPr>
            <p:cNvSpPr/>
            <p:nvPr/>
          </p:nvSpPr>
          <p:spPr>
            <a:xfrm>
              <a:off x="4397407" y="1361588"/>
              <a:ext cx="736846" cy="695812"/>
            </a:xfrm>
            <a:prstGeom prst="rect">
              <a:avLst/>
            </a:prstGeom>
            <a:solidFill>
              <a:schemeClr val="accent4"/>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 name="Graphic 8" descr="Internet with solid fill">
              <a:extLst>
                <a:ext uri="{FF2B5EF4-FFF2-40B4-BE49-F238E27FC236}">
                  <a16:creationId xmlns:a16="http://schemas.microsoft.com/office/drawing/2014/main" id="{74ECB6B6-84EB-32F1-EC4F-5DA43FE14B6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04359" y="1448023"/>
              <a:ext cx="522942" cy="522942"/>
            </a:xfrm>
            <a:prstGeom prst="rect">
              <a:avLst/>
            </a:prstGeom>
          </p:spPr>
        </p:pic>
      </p:grpSp>
      <p:grpSp>
        <p:nvGrpSpPr>
          <p:cNvPr id="37" name="Group 36">
            <a:extLst>
              <a:ext uri="{FF2B5EF4-FFF2-40B4-BE49-F238E27FC236}">
                <a16:creationId xmlns:a16="http://schemas.microsoft.com/office/drawing/2014/main" id="{896843B3-C1C6-663F-B8F8-6002171350AD}"/>
              </a:ext>
            </a:extLst>
          </p:cNvPr>
          <p:cNvGrpSpPr/>
          <p:nvPr/>
        </p:nvGrpSpPr>
        <p:grpSpPr>
          <a:xfrm>
            <a:off x="6065658" y="4089484"/>
            <a:ext cx="909957" cy="863988"/>
            <a:chOff x="6223245" y="4089484"/>
            <a:chExt cx="736846" cy="695812"/>
          </a:xfrm>
        </p:grpSpPr>
        <p:sp>
          <p:nvSpPr>
            <p:cNvPr id="28" name="Rectangle 27">
              <a:extLst>
                <a:ext uri="{FF2B5EF4-FFF2-40B4-BE49-F238E27FC236}">
                  <a16:creationId xmlns:a16="http://schemas.microsoft.com/office/drawing/2014/main" id="{EC8B1614-3936-969E-230B-89D8A5AB9379}"/>
                </a:ext>
              </a:extLst>
            </p:cNvPr>
            <p:cNvSpPr/>
            <p:nvPr/>
          </p:nvSpPr>
          <p:spPr>
            <a:xfrm>
              <a:off x="6223245" y="4089484"/>
              <a:ext cx="736846" cy="695812"/>
            </a:xfrm>
            <a:prstGeom prst="rect">
              <a:avLst/>
            </a:prstGeom>
            <a:solidFill>
              <a:srgbClr val="800000"/>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descr="Open hand with plant with solid fill">
              <a:extLst>
                <a:ext uri="{FF2B5EF4-FFF2-40B4-BE49-F238E27FC236}">
                  <a16:creationId xmlns:a16="http://schemas.microsoft.com/office/drawing/2014/main" id="{51F6237E-8CD8-C578-2144-2FC42F7E538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0197" y="4175919"/>
              <a:ext cx="522942" cy="522942"/>
            </a:xfrm>
            <a:prstGeom prst="rect">
              <a:avLst/>
            </a:prstGeom>
          </p:spPr>
        </p:pic>
      </p:grpSp>
      <p:grpSp>
        <p:nvGrpSpPr>
          <p:cNvPr id="33" name="Group 32">
            <a:extLst>
              <a:ext uri="{FF2B5EF4-FFF2-40B4-BE49-F238E27FC236}">
                <a16:creationId xmlns:a16="http://schemas.microsoft.com/office/drawing/2014/main" id="{6B5B2A26-82C5-5E2B-1CEB-0ABC90F9A60A}"/>
              </a:ext>
            </a:extLst>
          </p:cNvPr>
          <p:cNvGrpSpPr/>
          <p:nvPr/>
        </p:nvGrpSpPr>
        <p:grpSpPr>
          <a:xfrm>
            <a:off x="750750" y="1347979"/>
            <a:ext cx="909957" cy="863988"/>
            <a:chOff x="489753" y="1361588"/>
            <a:chExt cx="736846" cy="695812"/>
          </a:xfrm>
        </p:grpSpPr>
        <p:sp>
          <p:nvSpPr>
            <p:cNvPr id="16" name="Rectangle 15">
              <a:extLst>
                <a:ext uri="{FF2B5EF4-FFF2-40B4-BE49-F238E27FC236}">
                  <a16:creationId xmlns:a16="http://schemas.microsoft.com/office/drawing/2014/main" id="{FE5B2574-1178-D79E-7DA9-1D245617AF17}"/>
                </a:ext>
              </a:extLst>
            </p:cNvPr>
            <p:cNvSpPr/>
            <p:nvPr/>
          </p:nvSpPr>
          <p:spPr>
            <a:xfrm>
              <a:off x="489753" y="1361588"/>
              <a:ext cx="736846" cy="695812"/>
            </a:xfrm>
            <a:prstGeom prst="rect">
              <a:avLst/>
            </a:prstGeom>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17B03EAD-183A-DD18-58C4-529703FD46F9}"/>
                </a:ext>
              </a:extLst>
            </p:cNvPr>
            <p:cNvGrpSpPr/>
            <p:nvPr/>
          </p:nvGrpSpPr>
          <p:grpSpPr>
            <a:xfrm>
              <a:off x="596705" y="1495765"/>
              <a:ext cx="522941" cy="561635"/>
              <a:chOff x="9319388" y="4645678"/>
              <a:chExt cx="841808" cy="982058"/>
            </a:xfrm>
            <a:solidFill>
              <a:schemeClr val="bg1"/>
            </a:solidFill>
          </p:grpSpPr>
          <p:pic>
            <p:nvPicPr>
              <p:cNvPr id="10" name="Graphic 9" descr="Open hand with solid fill">
                <a:extLst>
                  <a:ext uri="{FF2B5EF4-FFF2-40B4-BE49-F238E27FC236}">
                    <a16:creationId xmlns:a16="http://schemas.microsoft.com/office/drawing/2014/main" id="{5DE7B019-863C-4628-1BA7-46150A05CE9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319388" y="4785928"/>
                <a:ext cx="841808" cy="841808"/>
              </a:xfrm>
              <a:prstGeom prst="rect">
                <a:avLst/>
              </a:prstGeom>
            </p:spPr>
          </p:pic>
          <p:pic>
            <p:nvPicPr>
              <p:cNvPr id="12" name="Graphic 11" descr="Gears with solid fill">
                <a:extLst>
                  <a:ext uri="{FF2B5EF4-FFF2-40B4-BE49-F238E27FC236}">
                    <a16:creationId xmlns:a16="http://schemas.microsoft.com/office/drawing/2014/main" id="{19196E04-F152-2C4F-F4DA-EADC2D39AE2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819215">
                <a:off x="9593814" y="4645678"/>
                <a:ext cx="482341" cy="482341"/>
              </a:xfrm>
              <a:prstGeom prst="rect">
                <a:avLst/>
              </a:prstGeom>
            </p:spPr>
          </p:pic>
        </p:grpSp>
      </p:grpSp>
      <p:grpSp>
        <p:nvGrpSpPr>
          <p:cNvPr id="36" name="Group 35">
            <a:extLst>
              <a:ext uri="{FF2B5EF4-FFF2-40B4-BE49-F238E27FC236}">
                <a16:creationId xmlns:a16="http://schemas.microsoft.com/office/drawing/2014/main" id="{53175C5C-FFCB-D443-37CE-B8E499164840}"/>
              </a:ext>
            </a:extLst>
          </p:cNvPr>
          <p:cNvGrpSpPr/>
          <p:nvPr/>
        </p:nvGrpSpPr>
        <p:grpSpPr>
          <a:xfrm>
            <a:off x="2289324" y="4089484"/>
            <a:ext cx="909957" cy="863988"/>
            <a:chOff x="2436925" y="4089484"/>
            <a:chExt cx="736846" cy="695812"/>
          </a:xfrm>
        </p:grpSpPr>
        <p:sp>
          <p:nvSpPr>
            <p:cNvPr id="26" name="Rectangle 25">
              <a:extLst>
                <a:ext uri="{FF2B5EF4-FFF2-40B4-BE49-F238E27FC236}">
                  <a16:creationId xmlns:a16="http://schemas.microsoft.com/office/drawing/2014/main" id="{84BC60C6-7D98-6F84-5662-3CB5EE5363F7}"/>
                </a:ext>
              </a:extLst>
            </p:cNvPr>
            <p:cNvSpPr/>
            <p:nvPr/>
          </p:nvSpPr>
          <p:spPr>
            <a:xfrm>
              <a:off x="2436925" y="4089484"/>
              <a:ext cx="736846" cy="695812"/>
            </a:xfrm>
            <a:prstGeom prst="rect">
              <a:avLst/>
            </a:prstGeom>
            <a:solidFill>
              <a:srgbClr val="DC9302"/>
            </a:solidFill>
            <a:ln w="762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Graphic 13" descr="Users with solid fill">
              <a:extLst>
                <a:ext uri="{FF2B5EF4-FFF2-40B4-BE49-F238E27FC236}">
                  <a16:creationId xmlns:a16="http://schemas.microsoft.com/office/drawing/2014/main" id="{A183152E-E24A-5355-069E-52808422256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543877" y="4175919"/>
              <a:ext cx="522942" cy="522942"/>
            </a:xfrm>
            <a:prstGeom prst="rect">
              <a:avLst/>
            </a:prstGeom>
          </p:spPr>
        </p:pic>
      </p:grpSp>
      <p:sp>
        <p:nvSpPr>
          <p:cNvPr id="30" name="TextBox 29">
            <a:extLst>
              <a:ext uri="{FF2B5EF4-FFF2-40B4-BE49-F238E27FC236}">
                <a16:creationId xmlns:a16="http://schemas.microsoft.com/office/drawing/2014/main" id="{67588351-B647-1A09-CC9C-1D1F105588F8}"/>
              </a:ext>
            </a:extLst>
          </p:cNvPr>
          <p:cNvSpPr txBox="1"/>
          <p:nvPr/>
        </p:nvSpPr>
        <p:spPr>
          <a:xfrm>
            <a:off x="1623211" y="1909021"/>
            <a:ext cx="18561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To deliver aspects of the DRI strategy relating to data infrastructure and implementation of FAIR. </a:t>
            </a:r>
          </a:p>
        </p:txBody>
      </p:sp>
      <p:sp>
        <p:nvSpPr>
          <p:cNvPr id="32" name="TextBox 31">
            <a:extLst>
              <a:ext uri="{FF2B5EF4-FFF2-40B4-BE49-F238E27FC236}">
                <a16:creationId xmlns:a16="http://schemas.microsoft.com/office/drawing/2014/main" id="{13216178-A8BA-45B4-D0AD-6BB4858C7B61}"/>
              </a:ext>
            </a:extLst>
          </p:cNvPr>
          <p:cNvSpPr txBox="1"/>
          <p:nvPr/>
        </p:nvSpPr>
        <p:spPr>
          <a:xfrm>
            <a:off x="1654060" y="1385801"/>
            <a:ext cx="185617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E2C51"/>
                </a:solidFill>
                <a:effectLst/>
                <a:uLnTx/>
                <a:uFillTx/>
                <a:latin typeface="Arial" panose="020B0604020202020204" pitchFamily="34" charset="0"/>
                <a:ea typeface="+mn-ea"/>
                <a:cs typeface="Arial" panose="020B0604020202020204" pitchFamily="34" charset="0"/>
              </a:rPr>
              <a:t>F</a:t>
            </a:r>
            <a:r>
              <a:rPr kumimoji="0" lang="en-US" sz="1400" b="1" i="0" u="none" strike="noStrike" kern="1200" cap="none" spc="0" normalizeH="0" baseline="0" noProof="0" err="1">
                <a:ln>
                  <a:noFill/>
                </a:ln>
                <a:solidFill>
                  <a:srgbClr val="2E2C51"/>
                </a:solidFill>
                <a:effectLst/>
                <a:uLnTx/>
                <a:uFillTx/>
                <a:latin typeface="Arial" panose="020B0604020202020204" pitchFamily="34" charset="0"/>
                <a:ea typeface="+mn-ea"/>
                <a:cs typeface="Arial" panose="020B0604020202020204" pitchFamily="34" charset="0"/>
              </a:rPr>
              <a:t>ederated</a:t>
            </a:r>
            <a:r>
              <a:rPr kumimoji="0" lang="en-US" sz="1400" b="1" i="0" u="none" strike="noStrike" kern="1200" cap="none" spc="0" normalizeH="0" baseline="0" noProof="0">
                <a:ln>
                  <a:noFill/>
                </a:ln>
                <a:solidFill>
                  <a:srgbClr val="2E2C51"/>
                </a:solidFill>
                <a:effectLst/>
                <a:uLnTx/>
                <a:uFillTx/>
                <a:latin typeface="Arial" panose="020B0604020202020204" pitchFamily="34" charset="0"/>
                <a:ea typeface="+mn-ea"/>
                <a:cs typeface="Arial" panose="020B0604020202020204" pitchFamily="34" charset="0"/>
              </a:rPr>
              <a:t> Data Services </a:t>
            </a:r>
            <a:endParaRPr kumimoji="0" lang="en-US" sz="2800" b="0" i="0" u="none" strike="noStrike" kern="1200" cap="none" spc="0" normalizeH="0" baseline="0" noProof="0">
              <a:ln>
                <a:noFill/>
              </a:ln>
              <a:solidFill>
                <a:srgbClr val="44546A"/>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BF88F7E7-18B8-4F87-3FD5-D6B949B61E2E}"/>
              </a:ext>
            </a:extLst>
          </p:cNvPr>
          <p:cNvSpPr txBox="1"/>
          <p:nvPr/>
        </p:nvSpPr>
        <p:spPr>
          <a:xfrm>
            <a:off x="5145932" y="1944496"/>
            <a:ext cx="18561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Ensuring the UK has the compute services to facilitate the ambitions of our R&amp;I community.</a:t>
            </a:r>
          </a:p>
        </p:txBody>
      </p:sp>
      <p:sp>
        <p:nvSpPr>
          <p:cNvPr id="39" name="TextBox 38">
            <a:extLst>
              <a:ext uri="{FF2B5EF4-FFF2-40B4-BE49-F238E27FC236}">
                <a16:creationId xmlns:a16="http://schemas.microsoft.com/office/drawing/2014/main" id="{0682D043-1F7E-6652-BAF0-191E799B2E7F}"/>
              </a:ext>
            </a:extLst>
          </p:cNvPr>
          <p:cNvSpPr txBox="1"/>
          <p:nvPr/>
        </p:nvSpPr>
        <p:spPr>
          <a:xfrm>
            <a:off x="5168419" y="1243038"/>
            <a:ext cx="192631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E2C51"/>
                </a:solidFill>
                <a:effectLst/>
                <a:uLnTx/>
                <a:uFillTx/>
                <a:latin typeface="Arial" panose="020B0604020202020204" pitchFamily="34" charset="0"/>
                <a:ea typeface="+mn-ea"/>
                <a:cs typeface="Arial" panose="020B0604020202020204" pitchFamily="34" charset="0"/>
              </a:rPr>
              <a:t>National Computational Research Services </a:t>
            </a:r>
          </a:p>
        </p:txBody>
      </p:sp>
      <p:sp>
        <p:nvSpPr>
          <p:cNvPr id="40" name="TextBox 39">
            <a:extLst>
              <a:ext uri="{FF2B5EF4-FFF2-40B4-BE49-F238E27FC236}">
                <a16:creationId xmlns:a16="http://schemas.microsoft.com/office/drawing/2014/main" id="{9F68BDFD-4FD2-7EA3-563E-C7FFAE47005E}"/>
              </a:ext>
            </a:extLst>
          </p:cNvPr>
          <p:cNvSpPr txBox="1"/>
          <p:nvPr/>
        </p:nvSpPr>
        <p:spPr>
          <a:xfrm>
            <a:off x="8627610" y="1959654"/>
            <a:ext cx="18561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Creation of a mission-led software programme for large-scale accelerated computing.</a:t>
            </a:r>
          </a:p>
        </p:txBody>
      </p:sp>
      <p:sp>
        <p:nvSpPr>
          <p:cNvPr id="41" name="TextBox 40">
            <a:extLst>
              <a:ext uri="{FF2B5EF4-FFF2-40B4-BE49-F238E27FC236}">
                <a16:creationId xmlns:a16="http://schemas.microsoft.com/office/drawing/2014/main" id="{BAD724E2-FAAC-8965-EAC4-AFD9CF3AA5CC}"/>
              </a:ext>
            </a:extLst>
          </p:cNvPr>
          <p:cNvSpPr txBox="1"/>
          <p:nvPr/>
        </p:nvSpPr>
        <p:spPr>
          <a:xfrm>
            <a:off x="8658459" y="1249996"/>
            <a:ext cx="185617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E2C51"/>
                </a:solidFill>
                <a:effectLst/>
                <a:uLnTx/>
                <a:uFillTx/>
                <a:latin typeface="Arial" panose="020B0604020202020204" pitchFamily="34" charset="0"/>
                <a:ea typeface="+mn-ea"/>
                <a:cs typeface="Arial" panose="020B0604020202020204" pitchFamily="34" charset="0"/>
              </a:rPr>
              <a:t>Software for future Large-scale compute</a:t>
            </a:r>
          </a:p>
        </p:txBody>
      </p:sp>
      <p:sp>
        <p:nvSpPr>
          <p:cNvPr id="42" name="TextBox 41">
            <a:extLst>
              <a:ext uri="{FF2B5EF4-FFF2-40B4-BE49-F238E27FC236}">
                <a16:creationId xmlns:a16="http://schemas.microsoft.com/office/drawing/2014/main" id="{F46A6CAF-1C8B-A4B1-3C5F-F8B8DC7047BB}"/>
              </a:ext>
            </a:extLst>
          </p:cNvPr>
          <p:cNvSpPr txBox="1"/>
          <p:nvPr/>
        </p:nvSpPr>
        <p:spPr>
          <a:xfrm>
            <a:off x="3195201" y="4605490"/>
            <a:ext cx="18561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Ensuring the UK has the skills base to deliver effective world-leading research and innovation. </a:t>
            </a:r>
          </a:p>
        </p:txBody>
      </p:sp>
      <p:sp>
        <p:nvSpPr>
          <p:cNvPr id="43" name="TextBox 42">
            <a:extLst>
              <a:ext uri="{FF2B5EF4-FFF2-40B4-BE49-F238E27FC236}">
                <a16:creationId xmlns:a16="http://schemas.microsoft.com/office/drawing/2014/main" id="{57D504E7-E902-03A9-03CD-1649B1786D64}"/>
              </a:ext>
            </a:extLst>
          </p:cNvPr>
          <p:cNvSpPr txBox="1"/>
          <p:nvPr/>
        </p:nvSpPr>
        <p:spPr>
          <a:xfrm>
            <a:off x="3226050" y="4082270"/>
            <a:ext cx="185617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E2C51"/>
                </a:solidFill>
                <a:effectLst/>
                <a:uLnTx/>
                <a:uFillTx/>
                <a:latin typeface="Arial" panose="020B0604020202020204" pitchFamily="34" charset="0"/>
                <a:ea typeface="+mn-ea"/>
                <a:cs typeface="Arial" panose="020B0604020202020204" pitchFamily="34" charset="0"/>
              </a:rPr>
              <a:t>Supporting DRI Professionals </a:t>
            </a:r>
          </a:p>
        </p:txBody>
      </p:sp>
      <p:sp>
        <p:nvSpPr>
          <p:cNvPr id="44" name="TextBox 43">
            <a:extLst>
              <a:ext uri="{FF2B5EF4-FFF2-40B4-BE49-F238E27FC236}">
                <a16:creationId xmlns:a16="http://schemas.microsoft.com/office/drawing/2014/main" id="{8204A55B-B23A-410A-73F0-C2E9F113BAA6}"/>
              </a:ext>
            </a:extLst>
          </p:cNvPr>
          <p:cNvSpPr txBox="1"/>
          <p:nvPr/>
        </p:nvSpPr>
        <p:spPr>
          <a:xfrm>
            <a:off x="6978931" y="4661669"/>
            <a:ext cx="1957165"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Secure access and connectivity, and software as an infrastructure and UKRI net zero ambitions.</a:t>
            </a:r>
          </a:p>
        </p:txBody>
      </p:sp>
      <p:sp>
        <p:nvSpPr>
          <p:cNvPr id="45" name="TextBox 44">
            <a:extLst>
              <a:ext uri="{FF2B5EF4-FFF2-40B4-BE49-F238E27FC236}">
                <a16:creationId xmlns:a16="http://schemas.microsoft.com/office/drawing/2014/main" id="{42896F29-9692-3B48-A163-779CBD4D3FC6}"/>
              </a:ext>
            </a:extLst>
          </p:cNvPr>
          <p:cNvSpPr txBox="1"/>
          <p:nvPr/>
        </p:nvSpPr>
        <p:spPr>
          <a:xfrm>
            <a:off x="7006464" y="3966856"/>
            <a:ext cx="185617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E2C51"/>
                </a:solidFill>
                <a:effectLst/>
                <a:uLnTx/>
                <a:uFillTx/>
                <a:latin typeface="Arial" panose="020B0604020202020204" pitchFamily="34" charset="0"/>
                <a:ea typeface="+mn-ea"/>
                <a:cs typeface="Arial" panose="020B0604020202020204" pitchFamily="34" charset="0"/>
              </a:rPr>
              <a:t>Software, Networks, Security and Net Zero </a:t>
            </a:r>
          </a:p>
        </p:txBody>
      </p:sp>
      <p:sp>
        <p:nvSpPr>
          <p:cNvPr id="46" name="Rectangle 45">
            <a:extLst>
              <a:ext uri="{FF2B5EF4-FFF2-40B4-BE49-F238E27FC236}">
                <a16:creationId xmlns:a16="http://schemas.microsoft.com/office/drawing/2014/main" id="{8A0FCC6D-104F-04E6-1F9F-20BA48AE5291}"/>
              </a:ext>
            </a:extLst>
          </p:cNvPr>
          <p:cNvSpPr/>
          <p:nvPr/>
        </p:nvSpPr>
        <p:spPr>
          <a:xfrm>
            <a:off x="1195375" y="2790651"/>
            <a:ext cx="2386771" cy="89603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B44774C7-8C4B-587A-BE35-D3881074B88F}"/>
              </a:ext>
            </a:extLst>
          </p:cNvPr>
          <p:cNvSpPr/>
          <p:nvPr/>
        </p:nvSpPr>
        <p:spPr>
          <a:xfrm>
            <a:off x="4696942" y="2794282"/>
            <a:ext cx="2387439" cy="896034"/>
          </a:xfrm>
          <a:prstGeom prst="rect">
            <a:avLst/>
          </a:prstGeom>
          <a:solidFill>
            <a:srgbClr val="2E2D6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8" name="Rectangle 47">
            <a:extLst>
              <a:ext uri="{FF2B5EF4-FFF2-40B4-BE49-F238E27FC236}">
                <a16:creationId xmlns:a16="http://schemas.microsoft.com/office/drawing/2014/main" id="{40D64E36-8097-81F7-0C04-503C047F3FE9}"/>
              </a:ext>
            </a:extLst>
          </p:cNvPr>
          <p:cNvSpPr/>
          <p:nvPr/>
        </p:nvSpPr>
        <p:spPr>
          <a:xfrm>
            <a:off x="8197034" y="2797077"/>
            <a:ext cx="2387439" cy="896034"/>
          </a:xfrm>
          <a:prstGeom prst="rect">
            <a:avLst/>
          </a:prstGeom>
          <a:solidFill>
            <a:srgbClr val="861E84"/>
          </a:solidFill>
          <a:ln>
            <a:solidFill>
              <a:srgbClr val="861E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ectangle 48">
            <a:extLst>
              <a:ext uri="{FF2B5EF4-FFF2-40B4-BE49-F238E27FC236}">
                <a16:creationId xmlns:a16="http://schemas.microsoft.com/office/drawing/2014/main" id="{4FAB0323-78C2-4B95-4DA7-03C862CB0822}"/>
              </a:ext>
            </a:extLst>
          </p:cNvPr>
          <p:cNvSpPr/>
          <p:nvPr/>
        </p:nvSpPr>
        <p:spPr>
          <a:xfrm>
            <a:off x="6526885" y="5510121"/>
            <a:ext cx="2387439" cy="896034"/>
          </a:xfrm>
          <a:prstGeom prst="rect">
            <a:avLst/>
          </a:prstGeom>
          <a:solidFill>
            <a:srgbClr val="800000"/>
          </a:solidFill>
          <a:ln>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D0F99238-76BA-5C9C-F0C6-BEB83A5726E0}"/>
              </a:ext>
            </a:extLst>
          </p:cNvPr>
          <p:cNvSpPr/>
          <p:nvPr/>
        </p:nvSpPr>
        <p:spPr>
          <a:xfrm>
            <a:off x="2737392" y="5513354"/>
            <a:ext cx="2387439" cy="896034"/>
          </a:xfrm>
          <a:prstGeom prst="rect">
            <a:avLst/>
          </a:prstGeom>
          <a:solidFill>
            <a:srgbClr val="DC9302"/>
          </a:solidFill>
          <a:ln>
            <a:solidFill>
              <a:srgbClr val="DC930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6A2BC83C-D33A-BAEC-F93D-8DF632C760BA}"/>
              </a:ext>
            </a:extLst>
          </p:cNvPr>
          <p:cNvSpPr txBox="1"/>
          <p:nvPr/>
        </p:nvSpPr>
        <p:spPr>
          <a:xfrm>
            <a:off x="1323470" y="2863141"/>
            <a:ext cx="206412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Total for FY 24/25</a:t>
            </a:r>
          </a:p>
        </p:txBody>
      </p:sp>
      <p:sp>
        <p:nvSpPr>
          <p:cNvPr id="69" name="TextBox 68">
            <a:extLst>
              <a:ext uri="{FF2B5EF4-FFF2-40B4-BE49-F238E27FC236}">
                <a16:creationId xmlns:a16="http://schemas.microsoft.com/office/drawing/2014/main" id="{C00C4A4D-DCE3-EDFD-66C6-D54047A7D6C1}"/>
              </a:ext>
            </a:extLst>
          </p:cNvPr>
          <p:cNvSpPr txBox="1"/>
          <p:nvPr/>
        </p:nvSpPr>
        <p:spPr>
          <a:xfrm>
            <a:off x="1839882" y="3198295"/>
            <a:ext cx="12273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panose="020B0604020202020204"/>
                <a:ea typeface="+mn-ea"/>
                <a:cs typeface="+mn-cs"/>
              </a:rPr>
              <a:t>£29.2M</a:t>
            </a:r>
          </a:p>
        </p:txBody>
      </p:sp>
      <p:sp>
        <p:nvSpPr>
          <p:cNvPr id="5" name="TextBox 4">
            <a:extLst>
              <a:ext uri="{FF2B5EF4-FFF2-40B4-BE49-F238E27FC236}">
                <a16:creationId xmlns:a16="http://schemas.microsoft.com/office/drawing/2014/main" id="{33A59D32-B40E-6CBF-BFA9-F1A9A9EA6813}"/>
              </a:ext>
            </a:extLst>
          </p:cNvPr>
          <p:cNvSpPr txBox="1"/>
          <p:nvPr/>
        </p:nvSpPr>
        <p:spPr>
          <a:xfrm>
            <a:off x="6594337" y="5572556"/>
            <a:ext cx="206412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Total for FY 24/25</a:t>
            </a:r>
          </a:p>
        </p:txBody>
      </p:sp>
      <p:sp>
        <p:nvSpPr>
          <p:cNvPr id="6" name="TextBox 5">
            <a:extLst>
              <a:ext uri="{FF2B5EF4-FFF2-40B4-BE49-F238E27FC236}">
                <a16:creationId xmlns:a16="http://schemas.microsoft.com/office/drawing/2014/main" id="{FD5E157C-7703-6CFE-EF3C-4BC3AF50B824}"/>
              </a:ext>
            </a:extLst>
          </p:cNvPr>
          <p:cNvSpPr txBox="1"/>
          <p:nvPr/>
        </p:nvSpPr>
        <p:spPr>
          <a:xfrm>
            <a:off x="7110749" y="5907710"/>
            <a:ext cx="12273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panose="020B0604020202020204"/>
                <a:ea typeface="+mn-ea"/>
                <a:cs typeface="+mn-cs"/>
              </a:rPr>
              <a:t>£6.61M</a:t>
            </a:r>
          </a:p>
        </p:txBody>
      </p:sp>
      <p:sp>
        <p:nvSpPr>
          <p:cNvPr id="7" name="TextBox 6">
            <a:extLst>
              <a:ext uri="{FF2B5EF4-FFF2-40B4-BE49-F238E27FC236}">
                <a16:creationId xmlns:a16="http://schemas.microsoft.com/office/drawing/2014/main" id="{BB2BCC30-4169-936A-D8F2-DCBE83AE9C9D}"/>
              </a:ext>
            </a:extLst>
          </p:cNvPr>
          <p:cNvSpPr txBox="1"/>
          <p:nvPr/>
        </p:nvSpPr>
        <p:spPr>
          <a:xfrm>
            <a:off x="4819382" y="2852360"/>
            <a:ext cx="206412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Total for FY 24/25</a:t>
            </a:r>
          </a:p>
        </p:txBody>
      </p:sp>
      <p:sp>
        <p:nvSpPr>
          <p:cNvPr id="13" name="TextBox 12">
            <a:extLst>
              <a:ext uri="{FF2B5EF4-FFF2-40B4-BE49-F238E27FC236}">
                <a16:creationId xmlns:a16="http://schemas.microsoft.com/office/drawing/2014/main" id="{A6B5F81A-A6F3-1744-1DDF-32B9587C6E43}"/>
              </a:ext>
            </a:extLst>
          </p:cNvPr>
          <p:cNvSpPr txBox="1"/>
          <p:nvPr/>
        </p:nvSpPr>
        <p:spPr>
          <a:xfrm>
            <a:off x="5335794" y="3187514"/>
            <a:ext cx="12273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panose="020B0604020202020204"/>
                <a:ea typeface="+mn-ea"/>
                <a:cs typeface="+mn-cs"/>
              </a:rPr>
              <a:t>£13.5M</a:t>
            </a:r>
          </a:p>
        </p:txBody>
      </p:sp>
      <p:sp>
        <p:nvSpPr>
          <p:cNvPr id="17" name="TextBox 16">
            <a:extLst>
              <a:ext uri="{FF2B5EF4-FFF2-40B4-BE49-F238E27FC236}">
                <a16:creationId xmlns:a16="http://schemas.microsoft.com/office/drawing/2014/main" id="{D355E22E-CCD5-B286-5DAA-918C3FAB3943}"/>
              </a:ext>
            </a:extLst>
          </p:cNvPr>
          <p:cNvSpPr txBox="1"/>
          <p:nvPr/>
        </p:nvSpPr>
        <p:spPr>
          <a:xfrm>
            <a:off x="2808086" y="5585683"/>
            <a:ext cx="206412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Total for FY 24/25</a:t>
            </a:r>
          </a:p>
        </p:txBody>
      </p:sp>
      <p:sp>
        <p:nvSpPr>
          <p:cNvPr id="18" name="TextBox 17">
            <a:extLst>
              <a:ext uri="{FF2B5EF4-FFF2-40B4-BE49-F238E27FC236}">
                <a16:creationId xmlns:a16="http://schemas.microsoft.com/office/drawing/2014/main" id="{2C32C394-593E-7CB3-63EF-FEB20B9716A4}"/>
              </a:ext>
            </a:extLst>
          </p:cNvPr>
          <p:cNvSpPr txBox="1"/>
          <p:nvPr/>
        </p:nvSpPr>
        <p:spPr>
          <a:xfrm>
            <a:off x="8246826" y="2861522"/>
            <a:ext cx="206412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Total for FY 24/25</a:t>
            </a:r>
          </a:p>
        </p:txBody>
      </p:sp>
      <p:sp>
        <p:nvSpPr>
          <p:cNvPr id="19" name="TextBox 18">
            <a:extLst>
              <a:ext uri="{FF2B5EF4-FFF2-40B4-BE49-F238E27FC236}">
                <a16:creationId xmlns:a16="http://schemas.microsoft.com/office/drawing/2014/main" id="{4E611686-C554-D248-BFB6-2A2D09939129}"/>
              </a:ext>
            </a:extLst>
          </p:cNvPr>
          <p:cNvSpPr txBox="1"/>
          <p:nvPr/>
        </p:nvSpPr>
        <p:spPr>
          <a:xfrm>
            <a:off x="3257937" y="5907710"/>
            <a:ext cx="12273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panose="020B0604020202020204"/>
                <a:ea typeface="+mn-ea"/>
                <a:cs typeface="+mn-cs"/>
              </a:rPr>
              <a:t>£8.2M</a:t>
            </a:r>
          </a:p>
        </p:txBody>
      </p:sp>
      <p:sp>
        <p:nvSpPr>
          <p:cNvPr id="20" name="TextBox 19">
            <a:extLst>
              <a:ext uri="{FF2B5EF4-FFF2-40B4-BE49-F238E27FC236}">
                <a16:creationId xmlns:a16="http://schemas.microsoft.com/office/drawing/2014/main" id="{FA56BC87-F35B-E758-3D8D-B15F9318317A}"/>
              </a:ext>
            </a:extLst>
          </p:cNvPr>
          <p:cNvSpPr txBox="1"/>
          <p:nvPr/>
        </p:nvSpPr>
        <p:spPr>
          <a:xfrm>
            <a:off x="8774464" y="3187040"/>
            <a:ext cx="1227319"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1200" cap="none" spc="0" normalizeH="0" baseline="0" noProof="0">
                <a:ln>
                  <a:noFill/>
                </a:ln>
                <a:solidFill>
                  <a:srgbClr val="FFFFFF"/>
                </a:solidFill>
                <a:effectLst/>
                <a:uLnTx/>
                <a:uFillTx/>
                <a:latin typeface="Arial" panose="020B0604020202020204"/>
                <a:ea typeface="+mn-ea"/>
                <a:cs typeface="+mn-cs"/>
              </a:rPr>
              <a:t>£6M</a:t>
            </a:r>
          </a:p>
        </p:txBody>
      </p:sp>
    </p:spTree>
    <p:extLst>
      <p:ext uri="{BB962C8B-B14F-4D97-AF65-F5344CB8AC3E}">
        <p14:creationId xmlns:p14="http://schemas.microsoft.com/office/powerpoint/2010/main" val="39276946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F6BD0-A00D-CDA0-5789-1B773E931C2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57293679-DA68-B4EF-4027-2BB029E73F50}"/>
              </a:ext>
            </a:extLst>
          </p:cNvPr>
          <p:cNvPicPr>
            <a:picLocks noChangeAspect="1"/>
          </p:cNvPicPr>
          <p:nvPr/>
        </p:nvPicPr>
        <p:blipFill rotWithShape="1">
          <a:blip r:embed="rId3"/>
          <a:srcRect l="1309" t="29344" b="4273"/>
          <a:stretch/>
        </p:blipFill>
        <p:spPr>
          <a:xfrm rot="10800000">
            <a:off x="702718" y="-3"/>
            <a:ext cx="11489279" cy="6858002"/>
          </a:xfrm>
          <a:prstGeom prst="rect">
            <a:avLst/>
          </a:prstGeom>
        </p:spPr>
      </p:pic>
      <p:sp>
        <p:nvSpPr>
          <p:cNvPr id="8" name="TextBox 7">
            <a:extLst>
              <a:ext uri="{FF2B5EF4-FFF2-40B4-BE49-F238E27FC236}">
                <a16:creationId xmlns:a16="http://schemas.microsoft.com/office/drawing/2014/main" id="{B6A63E71-9918-F1AF-1433-22B4034701BC}"/>
              </a:ext>
            </a:extLst>
          </p:cNvPr>
          <p:cNvSpPr txBox="1"/>
          <p:nvPr/>
        </p:nvSpPr>
        <p:spPr>
          <a:xfrm>
            <a:off x="584049" y="2759690"/>
            <a:ext cx="8316591" cy="1446550"/>
          </a:xfrm>
          <a:prstGeom prst="rect">
            <a:avLst/>
          </a:prstGeom>
          <a:noFill/>
        </p:spPr>
        <p:txBody>
          <a:bodyPr wrap="square" rtlCol="0" anchor="t">
            <a:spAutoFit/>
          </a:bodyPr>
          <a:lstStyle/>
          <a:p>
            <a:r>
              <a:rPr kumimoji="0" lang="en-US" sz="4400" b="1" i="0" u="none" strike="noStrike" kern="1200" cap="none" spc="0" normalizeH="0" baseline="0" noProof="0" dirty="0">
                <a:ln>
                  <a:noFill/>
                </a:ln>
                <a:solidFill>
                  <a:srgbClr val="2E2C61"/>
                </a:solidFill>
                <a:effectLst/>
                <a:uLnTx/>
                <a:uFillTx/>
                <a:latin typeface="Arial" panose="020B0604020202020204" pitchFamily="34" charset="0"/>
                <a:ea typeface="+mj-ea"/>
                <a:cs typeface="Arial" panose="020B0604020202020204" pitchFamily="34" charset="0"/>
              </a:rPr>
              <a:t>UKRI, STFC, and the Spending Review</a:t>
            </a:r>
            <a:endParaRPr lang="en-US" sz="4800" b="1" spc="-150" dirty="0">
              <a:solidFill>
                <a:srgbClr val="002060"/>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BA4A3733-7BD8-6568-860D-8CC0EC55703C}"/>
              </a:ext>
            </a:extLst>
          </p:cNvPr>
          <p:cNvPicPr>
            <a:picLocks noChangeAspect="1"/>
          </p:cNvPicPr>
          <p:nvPr/>
        </p:nvPicPr>
        <p:blipFill>
          <a:blip r:embed="rId4"/>
          <a:stretch>
            <a:fillRect/>
          </a:stretch>
        </p:blipFill>
        <p:spPr>
          <a:xfrm>
            <a:off x="146050" y="141003"/>
            <a:ext cx="3619500" cy="1554480"/>
          </a:xfrm>
          <a:prstGeom prst="rect">
            <a:avLst/>
          </a:prstGeom>
        </p:spPr>
      </p:pic>
      <p:pic>
        <p:nvPicPr>
          <p:cNvPr id="5" name="Picture 4">
            <a:extLst>
              <a:ext uri="{FF2B5EF4-FFF2-40B4-BE49-F238E27FC236}">
                <a16:creationId xmlns:a16="http://schemas.microsoft.com/office/drawing/2014/main" id="{31916EA5-D540-B6E7-C171-A6A46D4A207B}"/>
              </a:ext>
            </a:extLst>
          </p:cNvPr>
          <p:cNvPicPr>
            <a:picLocks noChangeAspect="1"/>
          </p:cNvPicPr>
          <p:nvPr/>
        </p:nvPicPr>
        <p:blipFill rotWithShape="1">
          <a:blip r:embed="rId5"/>
          <a:srcRect l="39723" t="3438" r="41861" b="20967"/>
          <a:stretch/>
        </p:blipFill>
        <p:spPr>
          <a:xfrm rot="16200000">
            <a:off x="4189208" y="-1285798"/>
            <a:ext cx="6716998" cy="9288591"/>
          </a:xfrm>
          <a:prstGeom prst="rect">
            <a:avLst/>
          </a:prstGeom>
        </p:spPr>
      </p:pic>
    </p:spTree>
    <p:extLst>
      <p:ext uri="{BB962C8B-B14F-4D97-AF65-F5344CB8AC3E}">
        <p14:creationId xmlns:p14="http://schemas.microsoft.com/office/powerpoint/2010/main" val="953908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BB36C-1547-E6B9-75CA-BBC97A169CF0}"/>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A11481A2-ABEB-292A-3FFA-88ED7C9FBD44}"/>
              </a:ext>
            </a:extLst>
          </p:cNvPr>
          <p:cNvSpPr/>
          <p:nvPr/>
        </p:nvSpPr>
        <p:spPr>
          <a:xfrm>
            <a:off x="-69156" y="5747657"/>
            <a:ext cx="2497311" cy="111034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3595698-EB82-C543-BA19-51010232A4B9}"/>
              </a:ext>
            </a:extLst>
          </p:cNvPr>
          <p:cNvSpPr>
            <a:spLocks noGrp="1"/>
          </p:cNvSpPr>
          <p:nvPr>
            <p:ph type="title"/>
          </p:nvPr>
        </p:nvSpPr>
        <p:spPr/>
        <p:txBody>
          <a:bodyPr/>
          <a:lstStyle/>
          <a:p>
            <a:r>
              <a:rPr lang="en-US" dirty="0"/>
              <a:t>UKRI, STFC, and the Spending Review</a:t>
            </a:r>
          </a:p>
        </p:txBody>
      </p:sp>
      <p:pic>
        <p:nvPicPr>
          <p:cNvPr id="5" name="Picture 4">
            <a:extLst>
              <a:ext uri="{FF2B5EF4-FFF2-40B4-BE49-F238E27FC236}">
                <a16:creationId xmlns:a16="http://schemas.microsoft.com/office/drawing/2014/main" id="{F16A442F-3ABC-2809-F65B-A78ABDF2791E}"/>
              </a:ext>
            </a:extLst>
          </p:cNvPr>
          <p:cNvPicPr>
            <a:picLocks noChangeAspect="1"/>
          </p:cNvPicPr>
          <p:nvPr/>
        </p:nvPicPr>
        <p:blipFill>
          <a:blip r:embed="rId2"/>
          <a:stretch>
            <a:fillRect/>
          </a:stretch>
        </p:blipFill>
        <p:spPr>
          <a:xfrm>
            <a:off x="377510" y="1572768"/>
            <a:ext cx="7133312" cy="53405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22B164CB-2D9A-9D45-A555-62EE61C23F96}"/>
              </a:ext>
            </a:extLst>
          </p:cNvPr>
          <p:cNvPicPr>
            <a:picLocks noChangeAspect="1"/>
          </p:cNvPicPr>
          <p:nvPr/>
        </p:nvPicPr>
        <p:blipFill>
          <a:blip r:embed="rId3"/>
          <a:stretch>
            <a:fillRect/>
          </a:stretch>
        </p:blipFill>
        <p:spPr>
          <a:xfrm>
            <a:off x="1556428" y="1447746"/>
            <a:ext cx="7366523" cy="45831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id="{DD3C2324-3BA3-09CD-E538-4194B3C2B86C}"/>
              </a:ext>
            </a:extLst>
          </p:cNvPr>
          <p:cNvPicPr>
            <a:picLocks noChangeAspect="1"/>
          </p:cNvPicPr>
          <p:nvPr/>
        </p:nvPicPr>
        <p:blipFill>
          <a:blip r:embed="rId4"/>
          <a:stretch>
            <a:fillRect/>
          </a:stretch>
        </p:blipFill>
        <p:spPr>
          <a:xfrm>
            <a:off x="3665979" y="2008482"/>
            <a:ext cx="7207225" cy="37045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73467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960EF-7C89-0C22-24C8-66C617587D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67C087-9C30-1F88-45A7-54159FA61F44}"/>
              </a:ext>
            </a:extLst>
          </p:cNvPr>
          <p:cNvSpPr>
            <a:spLocks noGrp="1"/>
          </p:cNvSpPr>
          <p:nvPr>
            <p:ph type="title"/>
          </p:nvPr>
        </p:nvSpPr>
        <p:spPr/>
        <p:txBody>
          <a:bodyPr/>
          <a:lstStyle/>
          <a:p>
            <a:r>
              <a:rPr lang="en-US" dirty="0"/>
              <a:t>UKRI, STFC, and the Spending Review</a:t>
            </a:r>
          </a:p>
        </p:txBody>
      </p:sp>
      <p:sp>
        <p:nvSpPr>
          <p:cNvPr id="3" name="Content Placeholder 2">
            <a:extLst>
              <a:ext uri="{FF2B5EF4-FFF2-40B4-BE49-F238E27FC236}">
                <a16:creationId xmlns:a16="http://schemas.microsoft.com/office/drawing/2014/main" id="{48A34F07-4163-B8F7-5B5C-B247E340C7C0}"/>
              </a:ext>
            </a:extLst>
          </p:cNvPr>
          <p:cNvSpPr>
            <a:spLocks noGrp="1"/>
          </p:cNvSpPr>
          <p:nvPr>
            <p:ph idx="1"/>
          </p:nvPr>
        </p:nvSpPr>
        <p:spPr>
          <a:xfrm>
            <a:off x="838200" y="1825625"/>
            <a:ext cx="10515600" cy="3926021"/>
          </a:xfrm>
        </p:spPr>
        <p:txBody>
          <a:bodyPr>
            <a:normAutofit fontScale="92500" lnSpcReduction="10000"/>
          </a:bodyPr>
          <a:lstStyle/>
          <a:p>
            <a:r>
              <a:rPr lang="en-US" dirty="0"/>
              <a:t>No UKRI budget yet</a:t>
            </a:r>
          </a:p>
          <a:p>
            <a:r>
              <a:rPr lang="en-US" dirty="0"/>
              <a:t>No STFC budget yet</a:t>
            </a:r>
          </a:p>
          <a:p>
            <a:endParaRPr lang="en-US" dirty="0"/>
          </a:p>
          <a:p>
            <a:r>
              <a:rPr lang="en-US" dirty="0"/>
              <a:t>Science Boards, Council, and Executive Board reviewing all STFC activities and </a:t>
            </a:r>
            <a:r>
              <a:rPr lang="en-US" dirty="0" err="1"/>
              <a:t>programmes</a:t>
            </a:r>
            <a:r>
              <a:rPr lang="en-US" dirty="0"/>
              <a:t> – ‘prioritization’</a:t>
            </a:r>
          </a:p>
          <a:p>
            <a:r>
              <a:rPr lang="en-US" dirty="0"/>
              <a:t>There are likely to be very significant pressures on STFC budgets</a:t>
            </a:r>
          </a:p>
          <a:p>
            <a:r>
              <a:rPr lang="en-US" dirty="0"/>
              <a:t>Clearly acknowledged that compute is </a:t>
            </a:r>
            <a:r>
              <a:rPr lang="en-US"/>
              <a:t>a non-optional </a:t>
            </a:r>
            <a:r>
              <a:rPr lang="en-US" dirty="0"/>
              <a:t>part of science activities</a:t>
            </a:r>
          </a:p>
          <a:p>
            <a:r>
              <a:rPr lang="en-US" dirty="0"/>
              <a:t>IRIS collated numbers fed into this process – thank you</a:t>
            </a:r>
          </a:p>
        </p:txBody>
      </p:sp>
    </p:spTree>
    <p:extLst>
      <p:ext uri="{BB962C8B-B14F-4D97-AF65-F5344CB8AC3E}">
        <p14:creationId xmlns:p14="http://schemas.microsoft.com/office/powerpoint/2010/main" val="28243868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A24A-FCF2-5134-82C0-BDE95DDB6DC0}"/>
              </a:ext>
            </a:extLst>
          </p:cNvPr>
          <p:cNvSpPr>
            <a:spLocks noGrp="1"/>
          </p:cNvSpPr>
          <p:nvPr>
            <p:ph type="title"/>
          </p:nvPr>
        </p:nvSpPr>
        <p:spPr/>
        <p:txBody>
          <a:bodyPr/>
          <a:lstStyle/>
          <a:p>
            <a:r>
              <a:rPr lang="en-GB" dirty="0"/>
              <a:t>£750m for a new supercomputer….</a:t>
            </a:r>
          </a:p>
        </p:txBody>
      </p:sp>
      <p:pic>
        <p:nvPicPr>
          <p:cNvPr id="5" name="Picture 4">
            <a:extLst>
              <a:ext uri="{FF2B5EF4-FFF2-40B4-BE49-F238E27FC236}">
                <a16:creationId xmlns:a16="http://schemas.microsoft.com/office/drawing/2014/main" id="{770B6071-1277-5A0A-751D-4EADA26CBF0C}"/>
              </a:ext>
            </a:extLst>
          </p:cNvPr>
          <p:cNvPicPr>
            <a:picLocks noChangeAspect="1"/>
          </p:cNvPicPr>
          <p:nvPr/>
        </p:nvPicPr>
        <p:blipFill>
          <a:blip r:embed="rId3"/>
          <a:stretch>
            <a:fillRect/>
          </a:stretch>
        </p:blipFill>
        <p:spPr>
          <a:xfrm>
            <a:off x="401157" y="1625534"/>
            <a:ext cx="8197212" cy="11409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6823D187-FCDF-9469-D763-E8FD2DCC2A6E}"/>
              </a:ext>
            </a:extLst>
          </p:cNvPr>
          <p:cNvPicPr>
            <a:picLocks noChangeAspect="1"/>
          </p:cNvPicPr>
          <p:nvPr/>
        </p:nvPicPr>
        <p:blipFill>
          <a:blip r:embed="rId4"/>
          <a:stretch>
            <a:fillRect/>
          </a:stretch>
        </p:blipFill>
        <p:spPr>
          <a:xfrm>
            <a:off x="3972449" y="3155028"/>
            <a:ext cx="7994675" cy="19538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642A15F4-B590-0E25-F606-3CF8C9D93DAD}"/>
              </a:ext>
            </a:extLst>
          </p:cNvPr>
          <p:cNvSpPr txBox="1"/>
          <p:nvPr/>
        </p:nvSpPr>
        <p:spPr>
          <a:xfrm>
            <a:off x="2854882" y="5619023"/>
            <a:ext cx="7567200" cy="923330"/>
          </a:xfrm>
          <a:prstGeom prst="rect">
            <a:avLst/>
          </a:prstGeom>
          <a:noFill/>
        </p:spPr>
        <p:txBody>
          <a:bodyPr wrap="none" rtlCol="0">
            <a:spAutoFit/>
          </a:bodyPr>
          <a:lstStyle/>
          <a:p>
            <a:r>
              <a:rPr lang="en-GB" dirty="0"/>
              <a:t>UKRI Project – STFC engagement through Katherine, Sarah, Mark, Tom</a:t>
            </a:r>
          </a:p>
          <a:p>
            <a:r>
              <a:rPr lang="en-GB" dirty="0"/>
              <a:t>DSIT-led Compute Plan/Strategy</a:t>
            </a:r>
          </a:p>
          <a:p>
            <a:r>
              <a:rPr lang="en-GB" dirty="0"/>
              <a:t>Identified need for a diverse set of compute systems</a:t>
            </a:r>
          </a:p>
        </p:txBody>
      </p:sp>
    </p:spTree>
    <p:extLst>
      <p:ext uri="{BB962C8B-B14F-4D97-AF65-F5344CB8AC3E}">
        <p14:creationId xmlns:p14="http://schemas.microsoft.com/office/powerpoint/2010/main" val="18262782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8B0D3-2DA6-3A20-8C98-33327F640A6D}"/>
              </a:ext>
            </a:extLst>
          </p:cNvPr>
          <p:cNvSpPr>
            <a:spLocks noGrp="1"/>
          </p:cNvSpPr>
          <p:nvPr>
            <p:ph type="title"/>
          </p:nvPr>
        </p:nvSpPr>
        <p:spPr/>
        <p:txBody>
          <a:bodyPr/>
          <a:lstStyle/>
          <a:p>
            <a:r>
              <a:rPr lang="en-US" dirty="0"/>
              <a:t>Digital Teams in STFC</a:t>
            </a:r>
          </a:p>
        </p:txBody>
      </p:sp>
      <p:sp>
        <p:nvSpPr>
          <p:cNvPr id="3" name="Content Placeholder 2">
            <a:extLst>
              <a:ext uri="{FF2B5EF4-FFF2-40B4-BE49-F238E27FC236}">
                <a16:creationId xmlns:a16="http://schemas.microsoft.com/office/drawing/2014/main" id="{81762458-E2C0-D955-9D04-51B7FF316E2F}"/>
              </a:ext>
            </a:extLst>
          </p:cNvPr>
          <p:cNvSpPr>
            <a:spLocks noGrp="1"/>
          </p:cNvSpPr>
          <p:nvPr>
            <p:ph idx="1"/>
          </p:nvPr>
        </p:nvSpPr>
        <p:spPr/>
        <p:txBody>
          <a:bodyPr>
            <a:normAutofit/>
          </a:bodyPr>
          <a:lstStyle/>
          <a:p>
            <a:pPr marL="0" indent="0">
              <a:buNone/>
            </a:pPr>
            <a:r>
              <a:rPr lang="en-US" b="1" dirty="0"/>
              <a:t>STFC </a:t>
            </a:r>
            <a:r>
              <a:rPr lang="en-US" b="1" dirty="0" err="1"/>
              <a:t>Programmes</a:t>
            </a:r>
            <a:endParaRPr lang="en-US" b="1" dirty="0"/>
          </a:p>
          <a:p>
            <a:pPr marL="0" indent="0">
              <a:buNone/>
            </a:pPr>
            <a:r>
              <a:rPr lang="en-US" dirty="0"/>
              <a:t>George Madden - </a:t>
            </a:r>
            <a:r>
              <a:rPr lang="en-GB" dirty="0"/>
              <a:t>Associate Director, Skills and DRI</a:t>
            </a:r>
          </a:p>
          <a:p>
            <a:pPr marL="0" indent="0">
              <a:buNone/>
            </a:pPr>
            <a:r>
              <a:rPr lang="en-GB" dirty="0"/>
              <a:t>Katherine Rooke - Head of Programmes – DRI</a:t>
            </a:r>
          </a:p>
          <a:p>
            <a:pPr marL="0" indent="0">
              <a:buNone/>
            </a:pPr>
            <a:r>
              <a:rPr lang="en-GB" dirty="0"/>
              <a:t>Sarah Garlick - Senior Programme Manager, DRI</a:t>
            </a:r>
          </a:p>
          <a:p>
            <a:pPr marL="0" indent="0">
              <a:buNone/>
            </a:pPr>
            <a:endParaRPr lang="en-GB" dirty="0"/>
          </a:p>
          <a:p>
            <a:pPr marL="0" indent="0">
              <a:buNone/>
            </a:pPr>
            <a:r>
              <a:rPr lang="en-GB" b="1" dirty="0"/>
              <a:t>STFC National Laboratories</a:t>
            </a:r>
          </a:p>
          <a:p>
            <a:pPr marL="0" indent="0">
              <a:buNone/>
            </a:pPr>
            <a:r>
              <a:rPr lang="en-GB" dirty="0"/>
              <a:t>Tom Griffin - Director, Scientific Computing Department</a:t>
            </a:r>
          </a:p>
          <a:p>
            <a:pPr marL="0" indent="0">
              <a:buNone/>
            </a:pPr>
            <a:r>
              <a:rPr lang="en-GB" dirty="0"/>
              <a:t>Justin O’Byrne - Deputy Director for Digital Research</a:t>
            </a:r>
            <a:endParaRPr lang="en-US" dirty="0"/>
          </a:p>
        </p:txBody>
      </p:sp>
    </p:spTree>
    <p:extLst>
      <p:ext uri="{BB962C8B-B14F-4D97-AF65-F5344CB8AC3E}">
        <p14:creationId xmlns:p14="http://schemas.microsoft.com/office/powerpoint/2010/main" val="21203126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5B301D-6358-EFB6-AB3A-128C53F70725}"/>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E6D6BAFC-1058-C4A3-4B24-FE2C5F398F82}"/>
              </a:ext>
            </a:extLst>
          </p:cNvPr>
          <p:cNvPicPr>
            <a:picLocks noChangeAspect="1"/>
          </p:cNvPicPr>
          <p:nvPr/>
        </p:nvPicPr>
        <p:blipFill rotWithShape="1">
          <a:blip r:embed="rId3"/>
          <a:srcRect l="1309" t="29344" b="4273"/>
          <a:stretch/>
        </p:blipFill>
        <p:spPr>
          <a:xfrm rot="10800000">
            <a:off x="702718" y="-3"/>
            <a:ext cx="11489279" cy="6858002"/>
          </a:xfrm>
          <a:prstGeom prst="rect">
            <a:avLst/>
          </a:prstGeom>
        </p:spPr>
      </p:pic>
      <p:sp>
        <p:nvSpPr>
          <p:cNvPr id="8" name="TextBox 7">
            <a:extLst>
              <a:ext uri="{FF2B5EF4-FFF2-40B4-BE49-F238E27FC236}">
                <a16:creationId xmlns:a16="http://schemas.microsoft.com/office/drawing/2014/main" id="{FA3BC772-5FDE-EA76-CD1D-13FA674DD13B}"/>
              </a:ext>
            </a:extLst>
          </p:cNvPr>
          <p:cNvSpPr txBox="1"/>
          <p:nvPr/>
        </p:nvSpPr>
        <p:spPr>
          <a:xfrm>
            <a:off x="584049" y="2759690"/>
            <a:ext cx="8316591" cy="769441"/>
          </a:xfrm>
          <a:prstGeom prst="rect">
            <a:avLst/>
          </a:prstGeom>
          <a:noFill/>
        </p:spPr>
        <p:txBody>
          <a:bodyPr wrap="square" rtlCol="0" anchor="t">
            <a:spAutoFit/>
          </a:bodyPr>
          <a:lstStyle/>
          <a:p>
            <a:r>
              <a:rPr kumimoji="0" lang="en-US" sz="4400" b="1" i="0" u="none" strike="noStrike" kern="1200" cap="none" spc="0" normalizeH="0" baseline="0" noProof="0" dirty="0">
                <a:ln>
                  <a:noFill/>
                </a:ln>
                <a:solidFill>
                  <a:srgbClr val="2E2C61"/>
                </a:solidFill>
                <a:effectLst/>
                <a:uLnTx/>
                <a:uFillTx/>
                <a:latin typeface="Arial" panose="020B0604020202020204" pitchFamily="34" charset="0"/>
                <a:ea typeface="+mj-ea"/>
                <a:cs typeface="Arial" panose="020B0604020202020204" pitchFamily="34" charset="0"/>
              </a:rPr>
              <a:t>So……</a:t>
            </a:r>
            <a:endParaRPr lang="en-US" sz="4800" b="1" spc="-150" dirty="0">
              <a:solidFill>
                <a:srgbClr val="002060"/>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F29D7F9-DE9D-F2D6-95CD-5E63CDEDE9B1}"/>
              </a:ext>
            </a:extLst>
          </p:cNvPr>
          <p:cNvPicPr>
            <a:picLocks noChangeAspect="1"/>
          </p:cNvPicPr>
          <p:nvPr/>
        </p:nvPicPr>
        <p:blipFill>
          <a:blip r:embed="rId4"/>
          <a:stretch>
            <a:fillRect/>
          </a:stretch>
        </p:blipFill>
        <p:spPr>
          <a:xfrm>
            <a:off x="146050" y="141003"/>
            <a:ext cx="3619500" cy="1554480"/>
          </a:xfrm>
          <a:prstGeom prst="rect">
            <a:avLst/>
          </a:prstGeom>
        </p:spPr>
      </p:pic>
      <p:pic>
        <p:nvPicPr>
          <p:cNvPr id="5" name="Picture 4">
            <a:extLst>
              <a:ext uri="{FF2B5EF4-FFF2-40B4-BE49-F238E27FC236}">
                <a16:creationId xmlns:a16="http://schemas.microsoft.com/office/drawing/2014/main" id="{FF917C7D-183B-D08A-1C54-446C19F06383}"/>
              </a:ext>
            </a:extLst>
          </p:cNvPr>
          <p:cNvPicPr>
            <a:picLocks noChangeAspect="1"/>
          </p:cNvPicPr>
          <p:nvPr/>
        </p:nvPicPr>
        <p:blipFill rotWithShape="1">
          <a:blip r:embed="rId5"/>
          <a:srcRect l="39723" t="3438" r="41861" b="20967"/>
          <a:stretch/>
        </p:blipFill>
        <p:spPr>
          <a:xfrm rot="16200000">
            <a:off x="4189208" y="-1285798"/>
            <a:ext cx="6716998" cy="9288591"/>
          </a:xfrm>
          <a:prstGeom prst="rect">
            <a:avLst/>
          </a:prstGeom>
        </p:spPr>
      </p:pic>
    </p:spTree>
    <p:extLst>
      <p:ext uri="{BB962C8B-B14F-4D97-AF65-F5344CB8AC3E}">
        <p14:creationId xmlns:p14="http://schemas.microsoft.com/office/powerpoint/2010/main" val="2350875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CBFD2-0C19-C950-102D-4D20DA8C48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8768C1B-7364-0F29-C3D0-29CB3906CF32}"/>
              </a:ext>
            </a:extLst>
          </p:cNvPr>
          <p:cNvSpPr>
            <a:spLocks noGrp="1"/>
          </p:cNvSpPr>
          <p:nvPr>
            <p:ph type="title"/>
          </p:nvPr>
        </p:nvSpPr>
        <p:spPr/>
        <p:txBody>
          <a:bodyPr/>
          <a:lstStyle/>
          <a:p>
            <a:r>
              <a:rPr lang="en-GB" dirty="0"/>
              <a:t>Maximise our use of UKRI and national resources</a:t>
            </a:r>
          </a:p>
        </p:txBody>
      </p:sp>
      <p:sp>
        <p:nvSpPr>
          <p:cNvPr id="3" name="Content Placeholder 2">
            <a:extLst>
              <a:ext uri="{FF2B5EF4-FFF2-40B4-BE49-F238E27FC236}">
                <a16:creationId xmlns:a16="http://schemas.microsoft.com/office/drawing/2014/main" id="{AFF05BB2-2994-579E-6A1D-C20C71287F62}"/>
              </a:ext>
            </a:extLst>
          </p:cNvPr>
          <p:cNvSpPr>
            <a:spLocks noGrp="1"/>
          </p:cNvSpPr>
          <p:nvPr>
            <p:ph idx="1"/>
          </p:nvPr>
        </p:nvSpPr>
        <p:spPr/>
        <p:txBody>
          <a:bodyPr/>
          <a:lstStyle/>
          <a:p>
            <a:r>
              <a:rPr lang="en-GB" dirty="0"/>
              <a:t>STFC’s budget is not likely to allow us to do everything we want to - we cannot provision compute for all our needs*</a:t>
            </a:r>
          </a:p>
          <a:p>
            <a:pPr marL="0" indent="0">
              <a:buNone/>
            </a:pPr>
            <a:endParaRPr lang="en-GB" dirty="0"/>
          </a:p>
          <a:p>
            <a:r>
              <a:rPr lang="en-GB" dirty="0"/>
              <a:t>What do we / STFC need to do to effectively use national services?</a:t>
            </a:r>
          </a:p>
          <a:p>
            <a:r>
              <a:rPr lang="en-GB" dirty="0"/>
              <a:t>What do those services need to look like?**</a:t>
            </a:r>
          </a:p>
          <a:p>
            <a:r>
              <a:rPr lang="en-GB" dirty="0"/>
              <a:t>What will not be able to use national services? (and why not?)</a:t>
            </a:r>
          </a:p>
          <a:p>
            <a:r>
              <a:rPr lang="en-GB" dirty="0"/>
              <a:t>How/where can we target mission-focused and AI funding?</a:t>
            </a:r>
          </a:p>
        </p:txBody>
      </p:sp>
      <p:sp>
        <p:nvSpPr>
          <p:cNvPr id="4" name="TextBox 3">
            <a:extLst>
              <a:ext uri="{FF2B5EF4-FFF2-40B4-BE49-F238E27FC236}">
                <a16:creationId xmlns:a16="http://schemas.microsoft.com/office/drawing/2014/main" id="{9386BF82-AA7B-7E08-1C84-8DBDEF0C3F36}"/>
              </a:ext>
            </a:extLst>
          </p:cNvPr>
          <p:cNvSpPr txBox="1"/>
          <p:nvPr/>
        </p:nvSpPr>
        <p:spPr>
          <a:xfrm>
            <a:off x="2652459" y="6176963"/>
            <a:ext cx="8392041" cy="338554"/>
          </a:xfrm>
          <a:prstGeom prst="rect">
            <a:avLst/>
          </a:prstGeom>
          <a:noFill/>
        </p:spPr>
        <p:txBody>
          <a:bodyPr wrap="none" rtlCol="0">
            <a:spAutoFit/>
          </a:bodyPr>
          <a:lstStyle/>
          <a:p>
            <a:r>
              <a:rPr lang="en-GB" sz="1600" dirty="0">
                <a:solidFill>
                  <a:schemeClr val="tx1">
                    <a:lumMod val="50000"/>
                  </a:schemeClr>
                </a:solidFill>
              </a:rPr>
              <a:t>*has this ever been the case?                      **IRIS </a:t>
            </a:r>
            <a:r>
              <a:rPr lang="en-GB" sz="1600" b="1" dirty="0">
                <a:solidFill>
                  <a:schemeClr val="tx1">
                    <a:lumMod val="50000"/>
                  </a:schemeClr>
                </a:solidFill>
              </a:rPr>
              <a:t>is</a:t>
            </a:r>
            <a:r>
              <a:rPr lang="en-GB" sz="1600" dirty="0">
                <a:solidFill>
                  <a:schemeClr val="tx1">
                    <a:lumMod val="50000"/>
                  </a:schemeClr>
                </a:solidFill>
              </a:rPr>
              <a:t> part of these diverse national services</a:t>
            </a:r>
          </a:p>
        </p:txBody>
      </p:sp>
    </p:spTree>
    <p:extLst>
      <p:ext uri="{BB962C8B-B14F-4D97-AF65-F5344CB8AC3E}">
        <p14:creationId xmlns:p14="http://schemas.microsoft.com/office/powerpoint/2010/main" val="3614452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A92FC-A2CE-B8DC-7520-E34DC9483C35}"/>
              </a:ext>
            </a:extLst>
          </p:cNvPr>
          <p:cNvSpPr>
            <a:spLocks noGrp="1"/>
          </p:cNvSpPr>
          <p:nvPr>
            <p:ph type="title"/>
          </p:nvPr>
        </p:nvSpPr>
        <p:spPr/>
        <p:txBody>
          <a:bodyPr/>
          <a:lstStyle/>
          <a:p>
            <a:r>
              <a:rPr lang="en-GB" dirty="0"/>
              <a:t>Maximise efficiency</a:t>
            </a:r>
          </a:p>
        </p:txBody>
      </p:sp>
      <p:sp>
        <p:nvSpPr>
          <p:cNvPr id="3" name="Content Placeholder 2">
            <a:extLst>
              <a:ext uri="{FF2B5EF4-FFF2-40B4-BE49-F238E27FC236}">
                <a16:creationId xmlns:a16="http://schemas.microsoft.com/office/drawing/2014/main" id="{D75C3979-5A72-76F7-A3DE-AB1FAAC71A03}"/>
              </a:ext>
            </a:extLst>
          </p:cNvPr>
          <p:cNvSpPr>
            <a:spLocks noGrp="1"/>
          </p:cNvSpPr>
          <p:nvPr>
            <p:ph idx="1"/>
          </p:nvPr>
        </p:nvSpPr>
        <p:spPr/>
        <p:txBody>
          <a:bodyPr/>
          <a:lstStyle/>
          <a:p>
            <a:r>
              <a:rPr lang="en-GB" dirty="0"/>
              <a:t>Reduce hardware, cost and carbon!</a:t>
            </a:r>
          </a:p>
          <a:p>
            <a:r>
              <a:rPr lang="en-GB" dirty="0"/>
              <a:t>What changes can we make in workflows or services?</a:t>
            </a:r>
          </a:p>
          <a:p>
            <a:r>
              <a:rPr lang="en-GB" dirty="0"/>
              <a:t>What investment is required to do this?</a:t>
            </a:r>
          </a:p>
          <a:p>
            <a:endParaRPr lang="en-GB" dirty="0"/>
          </a:p>
          <a:p>
            <a:r>
              <a:rPr lang="en-GB" dirty="0"/>
              <a:t>Where are the opportunities in software/pipelines/AI? </a:t>
            </a:r>
          </a:p>
          <a:p>
            <a:endParaRPr lang="en-GB" dirty="0"/>
          </a:p>
          <a:p>
            <a:r>
              <a:rPr lang="en-GB" dirty="0"/>
              <a:t>Carbon budgeting is coming</a:t>
            </a:r>
          </a:p>
        </p:txBody>
      </p:sp>
    </p:spTree>
    <p:extLst>
      <p:ext uri="{BB962C8B-B14F-4D97-AF65-F5344CB8AC3E}">
        <p14:creationId xmlns:p14="http://schemas.microsoft.com/office/powerpoint/2010/main" val="1384982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A4849-AB4B-512D-3877-160210A58942}"/>
              </a:ext>
            </a:extLst>
          </p:cNvPr>
          <p:cNvSpPr>
            <a:spLocks noGrp="1"/>
          </p:cNvSpPr>
          <p:nvPr>
            <p:ph type="title"/>
          </p:nvPr>
        </p:nvSpPr>
        <p:spPr/>
        <p:txBody>
          <a:bodyPr/>
          <a:lstStyle/>
          <a:p>
            <a:r>
              <a:rPr lang="en-GB" dirty="0"/>
              <a:t>Summary</a:t>
            </a:r>
          </a:p>
        </p:txBody>
      </p:sp>
      <p:sp>
        <p:nvSpPr>
          <p:cNvPr id="3" name="Content Placeholder 2">
            <a:extLst>
              <a:ext uri="{FF2B5EF4-FFF2-40B4-BE49-F238E27FC236}">
                <a16:creationId xmlns:a16="http://schemas.microsoft.com/office/drawing/2014/main" id="{746CCB39-326F-C098-F6BA-64783CA26F18}"/>
              </a:ext>
            </a:extLst>
          </p:cNvPr>
          <p:cNvSpPr>
            <a:spLocks noGrp="1"/>
          </p:cNvSpPr>
          <p:nvPr>
            <p:ph idx="1"/>
          </p:nvPr>
        </p:nvSpPr>
        <p:spPr>
          <a:xfrm>
            <a:off x="838200" y="1825625"/>
            <a:ext cx="11049000" cy="4351338"/>
          </a:xfrm>
        </p:spPr>
        <p:txBody>
          <a:bodyPr/>
          <a:lstStyle/>
          <a:p>
            <a:r>
              <a:rPr lang="en-GB" dirty="0"/>
              <a:t>Uncertain times – for </a:t>
            </a:r>
            <a:r>
              <a:rPr lang="en-GB" i="1" dirty="0"/>
              <a:t>at least</a:t>
            </a:r>
            <a:r>
              <a:rPr lang="en-GB" dirty="0"/>
              <a:t> another few months</a:t>
            </a:r>
          </a:p>
          <a:p>
            <a:endParaRPr lang="en-GB" dirty="0"/>
          </a:p>
          <a:p>
            <a:r>
              <a:rPr lang="en-GB" dirty="0"/>
              <a:t>IRIS is part of the solution</a:t>
            </a:r>
          </a:p>
          <a:p>
            <a:endParaRPr lang="en-GB" dirty="0"/>
          </a:p>
          <a:p>
            <a:r>
              <a:rPr lang="en-GB" dirty="0"/>
              <a:t>We need to (visibly) demonstrate efficiency savings</a:t>
            </a:r>
          </a:p>
          <a:p>
            <a:endParaRPr lang="en-GB" dirty="0"/>
          </a:p>
          <a:p>
            <a:r>
              <a:rPr lang="en-GB" dirty="0"/>
              <a:t>We need to make the case for investment to support this</a:t>
            </a:r>
          </a:p>
          <a:p>
            <a:pPr lvl="1"/>
            <a:r>
              <a:rPr lang="en-GB" dirty="0"/>
              <a:t>There will be opportunities, but maybe not through traditional STFC routes</a:t>
            </a:r>
          </a:p>
        </p:txBody>
      </p:sp>
    </p:spTree>
    <p:extLst>
      <p:ext uri="{BB962C8B-B14F-4D97-AF65-F5344CB8AC3E}">
        <p14:creationId xmlns:p14="http://schemas.microsoft.com/office/powerpoint/2010/main" val="3068743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6DB885-21B5-F244-A9B6-E73EA79D1109}"/>
              </a:ext>
            </a:extLst>
          </p:cNvPr>
          <p:cNvPicPr>
            <a:picLocks noChangeAspect="1"/>
          </p:cNvPicPr>
          <p:nvPr/>
        </p:nvPicPr>
        <p:blipFill>
          <a:blip r:embed="rId4"/>
          <a:stretch>
            <a:fillRect/>
          </a:stretch>
        </p:blipFill>
        <p:spPr>
          <a:xfrm>
            <a:off x="1098000" y="2811600"/>
            <a:ext cx="6934200" cy="1155700"/>
          </a:xfrm>
          <a:prstGeom prst="rect">
            <a:avLst/>
          </a:prstGeom>
        </p:spPr>
      </p:pic>
      <p:pic>
        <p:nvPicPr>
          <p:cNvPr id="7" name="Picture 6">
            <a:extLst>
              <a:ext uri="{FF2B5EF4-FFF2-40B4-BE49-F238E27FC236}">
                <a16:creationId xmlns:a16="http://schemas.microsoft.com/office/drawing/2014/main" id="{68F19A2E-55BC-0141-A9B0-7C61B212B0A0}"/>
              </a:ext>
            </a:extLst>
          </p:cNvPr>
          <p:cNvPicPr>
            <a:picLocks noChangeAspect="1"/>
          </p:cNvPicPr>
          <p:nvPr/>
        </p:nvPicPr>
        <p:blipFill>
          <a:blip r:embed="rId5"/>
          <a:stretch>
            <a:fillRect/>
          </a:stretch>
        </p:blipFill>
        <p:spPr>
          <a:xfrm>
            <a:off x="146050" y="141003"/>
            <a:ext cx="3619500" cy="1554480"/>
          </a:xfrm>
          <a:prstGeom prst="rect">
            <a:avLst/>
          </a:prstGeom>
        </p:spPr>
      </p:pic>
      <p:pic>
        <p:nvPicPr>
          <p:cNvPr id="8" name="Picture 7">
            <a:extLst>
              <a:ext uri="{FF2B5EF4-FFF2-40B4-BE49-F238E27FC236}">
                <a16:creationId xmlns:a16="http://schemas.microsoft.com/office/drawing/2014/main" id="{899A5AC6-8D0D-200E-E25D-4C87BBA739E8}"/>
              </a:ext>
            </a:extLst>
          </p:cNvPr>
          <p:cNvPicPr>
            <a:picLocks noChangeAspect="1"/>
          </p:cNvPicPr>
          <p:nvPr/>
        </p:nvPicPr>
        <p:blipFill rotWithShape="1">
          <a:blip r:embed="rId6"/>
          <a:srcRect l="56928" t="26557" r="14023" b="11544"/>
          <a:stretch/>
        </p:blipFill>
        <p:spPr>
          <a:xfrm>
            <a:off x="5262283" y="1340803"/>
            <a:ext cx="6934199" cy="6046884"/>
          </a:xfrm>
          <a:prstGeom prst="rect">
            <a:avLst/>
          </a:prstGeom>
        </p:spPr>
      </p:pic>
    </p:spTree>
    <p:extLst>
      <p:ext uri="{BB962C8B-B14F-4D97-AF65-F5344CB8AC3E}">
        <p14:creationId xmlns:p14="http://schemas.microsoft.com/office/powerpoint/2010/main" val="13944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13E4C-839E-8368-C1A0-30BEBF8B89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8ECABC-DB9C-3050-99F1-15FB4F5DD7B5}"/>
              </a:ext>
            </a:extLst>
          </p:cNvPr>
          <p:cNvSpPr>
            <a:spLocks noGrp="1"/>
          </p:cNvSpPr>
          <p:nvPr>
            <p:ph type="title"/>
          </p:nvPr>
        </p:nvSpPr>
        <p:spPr>
          <a:xfrm>
            <a:off x="447311" y="358145"/>
            <a:ext cx="10515600" cy="1325563"/>
          </a:xfrm>
        </p:spPr>
        <p:txBody>
          <a:bodyPr/>
          <a:lstStyle/>
          <a:p>
            <a:r>
              <a:rPr lang="en-US" dirty="0"/>
              <a:t>Computing Advisory Panel - CAP</a:t>
            </a:r>
          </a:p>
        </p:txBody>
      </p:sp>
      <p:sp>
        <p:nvSpPr>
          <p:cNvPr id="3" name="Content Placeholder 2">
            <a:extLst>
              <a:ext uri="{FF2B5EF4-FFF2-40B4-BE49-F238E27FC236}">
                <a16:creationId xmlns:a16="http://schemas.microsoft.com/office/drawing/2014/main" id="{F496FC2E-B2A0-4194-7050-D1EA283ACEDA}"/>
              </a:ext>
            </a:extLst>
          </p:cNvPr>
          <p:cNvSpPr>
            <a:spLocks noGrp="1"/>
          </p:cNvSpPr>
          <p:nvPr>
            <p:ph idx="1"/>
          </p:nvPr>
        </p:nvSpPr>
        <p:spPr>
          <a:xfrm>
            <a:off x="501445" y="1602658"/>
            <a:ext cx="5909187" cy="4574305"/>
          </a:xfrm>
        </p:spPr>
        <p:txBody>
          <a:bodyPr>
            <a:normAutofit/>
          </a:bodyPr>
          <a:lstStyle/>
          <a:p>
            <a:pPr algn="l">
              <a:spcBef>
                <a:spcPts val="0"/>
              </a:spcBef>
              <a:buNone/>
            </a:pPr>
            <a:r>
              <a:rPr lang="en-GB" sz="2000" b="1" dirty="0">
                <a:solidFill>
                  <a:srgbClr val="242424"/>
                </a:solidFill>
              </a:rPr>
              <a:t>Members</a:t>
            </a:r>
          </a:p>
          <a:p>
            <a:pPr algn="l">
              <a:spcBef>
                <a:spcPts val="0"/>
              </a:spcBef>
              <a:buNone/>
            </a:pPr>
            <a:r>
              <a:rPr lang="en-GB" sz="2000" dirty="0">
                <a:solidFill>
                  <a:srgbClr val="242424"/>
                </a:solidFill>
              </a:rPr>
              <a:t>A</a:t>
            </a:r>
            <a:r>
              <a:rPr lang="en-GB" sz="2000" b="0" i="0" dirty="0">
                <a:solidFill>
                  <a:srgbClr val="242424"/>
                </a:solidFill>
                <a:effectLst/>
                <a:latin typeface="Arial" panose="020B0604020202020204" pitchFamily="34" charset="0"/>
              </a:rPr>
              <a:t>nne Trefethen, University of Oxford (Chair)</a:t>
            </a:r>
          </a:p>
          <a:p>
            <a:pPr algn="l">
              <a:spcBef>
                <a:spcPts val="0"/>
              </a:spcBef>
              <a:buNone/>
            </a:pPr>
            <a:r>
              <a:rPr lang="en-GB" sz="2000" b="0" i="0" dirty="0">
                <a:solidFill>
                  <a:srgbClr val="242424"/>
                </a:solidFill>
                <a:effectLst/>
                <a:latin typeface="Arial" panose="020B0604020202020204" pitchFamily="34" charset="0"/>
              </a:rPr>
              <a:t>Robert Beswick, University of Manchester</a:t>
            </a:r>
          </a:p>
          <a:p>
            <a:pPr algn="l">
              <a:spcBef>
                <a:spcPts val="0"/>
              </a:spcBef>
              <a:buNone/>
            </a:pPr>
            <a:r>
              <a:rPr lang="en-GB" sz="2000" b="0" i="0" dirty="0">
                <a:solidFill>
                  <a:srgbClr val="242424"/>
                </a:solidFill>
                <a:effectLst/>
                <a:latin typeface="Arial" panose="020B0604020202020204" pitchFamily="34" charset="0"/>
              </a:rPr>
              <a:t>Tony Cass, CERN</a:t>
            </a:r>
          </a:p>
          <a:p>
            <a:pPr algn="l">
              <a:spcBef>
                <a:spcPts val="0"/>
              </a:spcBef>
              <a:buNone/>
            </a:pPr>
            <a:r>
              <a:rPr lang="en-GB" sz="2000" b="0" i="0" dirty="0">
                <a:solidFill>
                  <a:srgbClr val="242424"/>
                </a:solidFill>
                <a:effectLst/>
                <a:latin typeface="Arial" panose="020B0604020202020204" pitchFamily="34" charset="0"/>
              </a:rPr>
              <a:t>Luigi Del </a:t>
            </a:r>
            <a:r>
              <a:rPr lang="en-GB" sz="2000" b="0" i="0" dirty="0" err="1">
                <a:solidFill>
                  <a:srgbClr val="242424"/>
                </a:solidFill>
                <a:effectLst/>
                <a:latin typeface="Arial" panose="020B0604020202020204" pitchFamily="34" charset="0"/>
              </a:rPr>
              <a:t>Debbio</a:t>
            </a:r>
            <a:r>
              <a:rPr lang="en-GB" sz="2000" b="0" i="0" dirty="0">
                <a:solidFill>
                  <a:srgbClr val="242424"/>
                </a:solidFill>
                <a:effectLst/>
                <a:latin typeface="Arial" panose="020B0604020202020204" pitchFamily="34" charset="0"/>
              </a:rPr>
              <a:t>, University of Edinburgh</a:t>
            </a:r>
          </a:p>
          <a:p>
            <a:pPr algn="l">
              <a:spcBef>
                <a:spcPts val="0"/>
              </a:spcBef>
              <a:buNone/>
            </a:pPr>
            <a:r>
              <a:rPr lang="en-GB" sz="2000" b="0" i="0" dirty="0">
                <a:solidFill>
                  <a:srgbClr val="242424"/>
                </a:solidFill>
                <a:effectLst/>
                <a:latin typeface="Arial" panose="020B0604020202020204" pitchFamily="34" charset="0"/>
              </a:rPr>
              <a:t>Carmen Domene, University of Bath</a:t>
            </a:r>
          </a:p>
          <a:p>
            <a:pPr algn="l">
              <a:spcBef>
                <a:spcPts val="0"/>
              </a:spcBef>
              <a:buNone/>
            </a:pPr>
            <a:r>
              <a:rPr lang="en-GB" sz="2000" b="0" i="0" dirty="0">
                <a:solidFill>
                  <a:srgbClr val="242424"/>
                </a:solidFill>
                <a:effectLst/>
                <a:latin typeface="Arial" panose="020B0604020202020204" pitchFamily="34" charset="0"/>
              </a:rPr>
              <a:t>Alejandra Gonzalez-Beltran, UKAEA</a:t>
            </a:r>
          </a:p>
          <a:p>
            <a:pPr algn="l">
              <a:spcBef>
                <a:spcPts val="0"/>
              </a:spcBef>
              <a:buNone/>
            </a:pPr>
            <a:r>
              <a:rPr lang="en-GB" sz="2000" b="0" i="0" dirty="0">
                <a:solidFill>
                  <a:srgbClr val="242424"/>
                </a:solidFill>
                <a:effectLst/>
                <a:latin typeface="Arial" panose="020B0604020202020204" pitchFamily="34" charset="0"/>
              </a:rPr>
              <a:t>Biagio Lucini, Queen Mary University of London</a:t>
            </a:r>
          </a:p>
          <a:p>
            <a:pPr algn="l">
              <a:spcBef>
                <a:spcPts val="0"/>
              </a:spcBef>
              <a:buNone/>
            </a:pPr>
            <a:r>
              <a:rPr lang="en-GB" sz="2000" b="0" i="0" dirty="0">
                <a:solidFill>
                  <a:srgbClr val="242424"/>
                </a:solidFill>
                <a:effectLst/>
                <a:latin typeface="Arial" panose="020B0604020202020204" pitchFamily="34" charset="0"/>
              </a:rPr>
              <a:t>Sri </a:t>
            </a:r>
            <a:r>
              <a:rPr lang="en-GB" sz="2000" b="0" i="0" dirty="0" err="1">
                <a:solidFill>
                  <a:srgbClr val="242424"/>
                </a:solidFill>
                <a:effectLst/>
                <a:latin typeface="Arial" panose="020B0604020202020204" pitchFamily="34" charset="0"/>
              </a:rPr>
              <a:t>Sri</a:t>
            </a:r>
            <a:r>
              <a:rPr lang="en-GB" sz="2000" b="0" i="0" dirty="0">
                <a:solidFill>
                  <a:srgbClr val="242424"/>
                </a:solidFill>
                <a:effectLst/>
                <a:latin typeface="Arial" panose="020B0604020202020204" pitchFamily="34" charset="0"/>
              </a:rPr>
              <a:t> </a:t>
            </a:r>
            <a:r>
              <a:rPr lang="en-GB" sz="2000" b="0" i="0" dirty="0" err="1">
                <a:solidFill>
                  <a:srgbClr val="242424"/>
                </a:solidFill>
                <a:effectLst/>
                <a:latin typeface="Arial" panose="020B0604020202020204" pitchFamily="34" charset="0"/>
              </a:rPr>
              <a:t>Perangur</a:t>
            </a:r>
            <a:r>
              <a:rPr lang="en-GB" sz="2000" b="0" i="0" dirty="0">
                <a:solidFill>
                  <a:srgbClr val="242424"/>
                </a:solidFill>
                <a:effectLst/>
                <a:latin typeface="Arial" panose="020B0604020202020204" pitchFamily="34" charset="0"/>
              </a:rPr>
              <a:t>, Just Eat Takeaway</a:t>
            </a:r>
          </a:p>
          <a:p>
            <a:pPr algn="l">
              <a:spcBef>
                <a:spcPts val="0"/>
              </a:spcBef>
              <a:buNone/>
            </a:pPr>
            <a:r>
              <a:rPr lang="en-GB" sz="2000" b="0" i="0" dirty="0">
                <a:solidFill>
                  <a:srgbClr val="242424"/>
                </a:solidFill>
                <a:effectLst/>
                <a:latin typeface="Arial" panose="020B0604020202020204" pitchFamily="34" charset="0"/>
              </a:rPr>
              <a:t>Andrew Richards, Imperial College</a:t>
            </a:r>
          </a:p>
          <a:p>
            <a:pPr algn="l">
              <a:spcBef>
                <a:spcPts val="0"/>
              </a:spcBef>
              <a:buNone/>
            </a:pPr>
            <a:r>
              <a:rPr lang="en-GB" sz="2000" b="0" i="0" dirty="0">
                <a:solidFill>
                  <a:srgbClr val="242424"/>
                </a:solidFill>
                <a:effectLst/>
                <a:latin typeface="Arial" panose="020B0604020202020204" pitchFamily="34" charset="0"/>
              </a:rPr>
              <a:t>Bruno Silva, Amazon Web Services</a:t>
            </a:r>
          </a:p>
          <a:p>
            <a:pPr algn="l">
              <a:spcBef>
                <a:spcPts val="0"/>
              </a:spcBef>
              <a:buNone/>
            </a:pPr>
            <a:r>
              <a:rPr lang="en-GB" sz="2000" b="0" i="0" dirty="0">
                <a:solidFill>
                  <a:srgbClr val="242424"/>
                </a:solidFill>
                <a:effectLst/>
                <a:latin typeface="Arial" panose="020B0604020202020204" pitchFamily="34" charset="0"/>
              </a:rPr>
              <a:t>Filippo Spiga, Nvidia Corporation</a:t>
            </a:r>
          </a:p>
          <a:p>
            <a:pPr algn="l">
              <a:spcBef>
                <a:spcPts val="0"/>
              </a:spcBef>
              <a:buNone/>
            </a:pPr>
            <a:r>
              <a:rPr lang="en-GB" sz="2000" b="0" i="0" dirty="0">
                <a:solidFill>
                  <a:srgbClr val="242424"/>
                </a:solidFill>
                <a:effectLst/>
                <a:latin typeface="Arial" panose="020B0604020202020204" pitchFamily="34" charset="0"/>
              </a:rPr>
              <a:t>Alessio </a:t>
            </a:r>
            <a:r>
              <a:rPr lang="en-GB" sz="2000" b="0" i="0" dirty="0" err="1">
                <a:solidFill>
                  <a:srgbClr val="242424"/>
                </a:solidFill>
                <a:effectLst/>
                <a:latin typeface="Arial" panose="020B0604020202020204" pitchFamily="34" charset="0"/>
              </a:rPr>
              <a:t>Spurio</a:t>
            </a:r>
            <a:r>
              <a:rPr lang="en-GB" sz="2000" b="0" i="0" dirty="0">
                <a:solidFill>
                  <a:srgbClr val="242424"/>
                </a:solidFill>
                <a:effectLst/>
                <a:latin typeface="Arial" panose="020B0604020202020204" pitchFamily="34" charset="0"/>
              </a:rPr>
              <a:t> Mancini, Royal Holloway</a:t>
            </a:r>
          </a:p>
          <a:p>
            <a:pPr algn="l">
              <a:spcBef>
                <a:spcPts val="0"/>
              </a:spcBef>
              <a:buNone/>
            </a:pPr>
            <a:r>
              <a:rPr lang="en-GB" sz="2000" dirty="0">
                <a:solidFill>
                  <a:srgbClr val="242424"/>
                </a:solidFill>
              </a:rPr>
              <a:t>Viv Kendon, Strathclyde University </a:t>
            </a:r>
            <a:endParaRPr lang="en-GB" sz="2000" b="0" i="0" dirty="0">
              <a:solidFill>
                <a:srgbClr val="242424"/>
              </a:solidFill>
              <a:effectLst/>
              <a:latin typeface="Arial" panose="020B0604020202020204" pitchFamily="34" charset="0"/>
            </a:endParaRPr>
          </a:p>
          <a:p>
            <a:pPr algn="l">
              <a:spcBef>
                <a:spcPts val="0"/>
              </a:spcBef>
              <a:buNone/>
            </a:pPr>
            <a:endParaRPr lang="en-GB" sz="2000" b="0" i="0" dirty="0">
              <a:solidFill>
                <a:srgbClr val="242424"/>
              </a:solidFill>
              <a:effectLst/>
              <a:latin typeface="Calibri" panose="020F0502020204030204" pitchFamily="34" charset="0"/>
            </a:endParaRPr>
          </a:p>
          <a:p>
            <a:pPr algn="l">
              <a:spcBef>
                <a:spcPts val="0"/>
              </a:spcBef>
              <a:buNone/>
            </a:pPr>
            <a:endParaRPr lang="en-GB" sz="2000" b="0" i="0" dirty="0">
              <a:solidFill>
                <a:srgbClr val="242424"/>
              </a:solidFill>
              <a:effectLst/>
              <a:latin typeface="Calibri" panose="020F0502020204030204" pitchFamily="34" charset="0"/>
            </a:endParaRPr>
          </a:p>
        </p:txBody>
      </p:sp>
      <p:sp>
        <p:nvSpPr>
          <p:cNvPr id="4" name="Content Placeholder 2">
            <a:extLst>
              <a:ext uri="{FF2B5EF4-FFF2-40B4-BE49-F238E27FC236}">
                <a16:creationId xmlns:a16="http://schemas.microsoft.com/office/drawing/2014/main" id="{424BCF14-A151-7A51-3134-FE029C1BCF4C}"/>
              </a:ext>
            </a:extLst>
          </p:cNvPr>
          <p:cNvSpPr txBox="1">
            <a:spLocks/>
          </p:cNvSpPr>
          <p:nvPr/>
        </p:nvSpPr>
        <p:spPr>
          <a:xfrm>
            <a:off x="6747387" y="1602658"/>
            <a:ext cx="5218471" cy="47660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tx1"/>
              </a:buClr>
              <a:buFont typeface="Wingdings" pitchFamily="2" charset="2"/>
              <a:buChar char="§"/>
              <a:defRPr sz="2800" kern="1200">
                <a:solidFill>
                  <a:schemeClr val="accent4"/>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Wingdings" pitchFamily="2" charset="2"/>
              <a:buChar char="§"/>
              <a:defRPr sz="2400" kern="1200">
                <a:solidFill>
                  <a:schemeClr val="accent4"/>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1"/>
              </a:buClr>
              <a:buFont typeface="Wingdings" pitchFamily="2" charset="2"/>
              <a:buChar char="§"/>
              <a:defRPr sz="2000" kern="1200">
                <a:solidFill>
                  <a:schemeClr val="accent4"/>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1"/>
              </a:buClr>
              <a:buFont typeface="Wingdings" pitchFamily="2" charset="2"/>
              <a:buChar char="§"/>
              <a:defRPr sz="18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Font typeface="Wingdings" pitchFamily="2" charset="2"/>
              <a:buNone/>
            </a:pPr>
            <a:r>
              <a:rPr lang="en-GB" sz="2000" b="1" dirty="0">
                <a:solidFill>
                  <a:srgbClr val="242424"/>
                </a:solidFill>
              </a:rPr>
              <a:t>Attendees at open sessions</a:t>
            </a:r>
          </a:p>
          <a:p>
            <a:pPr>
              <a:spcBef>
                <a:spcPts val="0"/>
              </a:spcBef>
              <a:buNone/>
            </a:pPr>
            <a:r>
              <a:rPr lang="en-GB" sz="2000" dirty="0">
                <a:solidFill>
                  <a:srgbClr val="242424"/>
                </a:solidFill>
              </a:rPr>
              <a:t>Mark Wilkinson, DiRAC</a:t>
            </a:r>
          </a:p>
          <a:p>
            <a:pPr>
              <a:spcBef>
                <a:spcPts val="0"/>
              </a:spcBef>
              <a:buNone/>
            </a:pPr>
            <a:r>
              <a:rPr lang="en-GB" sz="2000" dirty="0">
                <a:solidFill>
                  <a:srgbClr val="242424"/>
                </a:solidFill>
              </a:rPr>
              <a:t>Jonathan Hays, IRIS</a:t>
            </a:r>
          </a:p>
          <a:p>
            <a:pPr>
              <a:spcBef>
                <a:spcPts val="0"/>
              </a:spcBef>
              <a:buFont typeface="Wingdings" pitchFamily="2" charset="2"/>
              <a:buNone/>
            </a:pPr>
            <a:r>
              <a:rPr lang="en-GB" sz="2000" dirty="0">
                <a:solidFill>
                  <a:srgbClr val="242424"/>
                </a:solidFill>
              </a:rPr>
              <a:t>Tom Griffin, STFC – Scientific Computing</a:t>
            </a:r>
          </a:p>
          <a:p>
            <a:pPr>
              <a:spcBef>
                <a:spcPts val="0"/>
              </a:spcBef>
              <a:buFont typeface="Wingdings" pitchFamily="2" charset="2"/>
              <a:buNone/>
            </a:pPr>
            <a:r>
              <a:rPr lang="en-GB" sz="2000" dirty="0">
                <a:solidFill>
                  <a:srgbClr val="242424"/>
                </a:solidFill>
              </a:rPr>
              <a:t>Kate Royse, STFC – Hartree</a:t>
            </a:r>
          </a:p>
          <a:p>
            <a:pPr>
              <a:spcBef>
                <a:spcPts val="0"/>
              </a:spcBef>
              <a:buNone/>
            </a:pPr>
            <a:r>
              <a:rPr lang="en-GB" sz="2000" dirty="0">
                <a:solidFill>
                  <a:srgbClr val="242424"/>
                </a:solidFill>
              </a:rPr>
              <a:t>Michael Cuthbert, STFC - NQCC</a:t>
            </a:r>
          </a:p>
          <a:p>
            <a:pPr>
              <a:spcBef>
                <a:spcPts val="0"/>
              </a:spcBef>
              <a:buNone/>
            </a:pPr>
            <a:r>
              <a:rPr lang="en-GB" sz="2000" dirty="0">
                <a:solidFill>
                  <a:srgbClr val="242424"/>
                </a:solidFill>
              </a:rPr>
              <a:t>John Ginever, STFC – Digital Infrastructure</a:t>
            </a:r>
          </a:p>
          <a:p>
            <a:pPr>
              <a:spcBef>
                <a:spcPts val="0"/>
              </a:spcBef>
              <a:buFont typeface="Wingdings" pitchFamily="2" charset="2"/>
              <a:buNone/>
            </a:pPr>
            <a:endParaRPr lang="en-GB" sz="2000" dirty="0">
              <a:solidFill>
                <a:srgbClr val="242424"/>
              </a:solidFill>
              <a:latin typeface="Calibri" panose="020F0502020204030204" pitchFamily="34" charset="0"/>
            </a:endParaRPr>
          </a:p>
          <a:p>
            <a:pPr>
              <a:spcBef>
                <a:spcPts val="0"/>
              </a:spcBef>
              <a:buFont typeface="Wingdings" pitchFamily="2" charset="2"/>
              <a:buNone/>
            </a:pPr>
            <a:r>
              <a:rPr lang="en-GB" sz="2000" dirty="0">
                <a:solidFill>
                  <a:srgbClr val="242424"/>
                </a:solidFill>
              </a:rPr>
              <a:t> </a:t>
            </a:r>
            <a:endParaRPr lang="en-GB" sz="2000" dirty="0">
              <a:solidFill>
                <a:srgbClr val="242424"/>
              </a:solidFill>
              <a:latin typeface="Calibri" panose="020F0502020204030204" pitchFamily="34" charset="0"/>
            </a:endParaRPr>
          </a:p>
          <a:p>
            <a:pPr>
              <a:spcBef>
                <a:spcPts val="0"/>
              </a:spcBef>
              <a:buFont typeface="Wingdings" pitchFamily="2" charset="2"/>
              <a:buNone/>
            </a:pPr>
            <a:r>
              <a:rPr lang="en-GB" sz="2000" b="1" dirty="0">
                <a:solidFill>
                  <a:srgbClr val="242424"/>
                </a:solidFill>
              </a:rPr>
              <a:t>Also attending from STFC</a:t>
            </a:r>
            <a:endParaRPr lang="en-GB" sz="2000" b="1" dirty="0">
              <a:solidFill>
                <a:srgbClr val="242424"/>
              </a:solidFill>
              <a:latin typeface="Calibri" panose="020F0502020204030204" pitchFamily="34" charset="0"/>
            </a:endParaRPr>
          </a:p>
          <a:p>
            <a:pPr>
              <a:spcBef>
                <a:spcPts val="0"/>
              </a:spcBef>
              <a:buFont typeface="Wingdings" pitchFamily="2" charset="2"/>
              <a:buNone/>
            </a:pPr>
            <a:r>
              <a:rPr lang="en-GB" sz="2000" dirty="0">
                <a:solidFill>
                  <a:srgbClr val="242424"/>
                </a:solidFill>
              </a:rPr>
              <a:t>Nicky Bladen-Hovell</a:t>
            </a:r>
          </a:p>
          <a:p>
            <a:pPr>
              <a:spcBef>
                <a:spcPts val="0"/>
              </a:spcBef>
              <a:buFont typeface="Wingdings" pitchFamily="2" charset="2"/>
              <a:buNone/>
            </a:pPr>
            <a:r>
              <a:rPr lang="en-GB" sz="2000" dirty="0">
                <a:solidFill>
                  <a:srgbClr val="242424"/>
                </a:solidFill>
              </a:rPr>
              <a:t>Sarah Garlick</a:t>
            </a:r>
          </a:p>
          <a:p>
            <a:pPr>
              <a:spcBef>
                <a:spcPts val="0"/>
              </a:spcBef>
              <a:buFont typeface="Wingdings" pitchFamily="2" charset="2"/>
              <a:buNone/>
            </a:pPr>
            <a:r>
              <a:rPr lang="en-GB" sz="2000" dirty="0">
                <a:solidFill>
                  <a:srgbClr val="242424"/>
                </a:solidFill>
              </a:rPr>
              <a:t>George Madden</a:t>
            </a:r>
            <a:endParaRPr lang="en-GB" sz="2000" dirty="0">
              <a:solidFill>
                <a:srgbClr val="242424"/>
              </a:solidFill>
              <a:latin typeface="Calibri" panose="020F0502020204030204" pitchFamily="34" charset="0"/>
            </a:endParaRPr>
          </a:p>
          <a:p>
            <a:pPr>
              <a:spcBef>
                <a:spcPts val="0"/>
              </a:spcBef>
              <a:buFont typeface="Wingdings" pitchFamily="2" charset="2"/>
              <a:buNone/>
            </a:pPr>
            <a:r>
              <a:rPr lang="en-GB" sz="2000" dirty="0">
                <a:solidFill>
                  <a:srgbClr val="242424"/>
                </a:solidFill>
              </a:rPr>
              <a:t>Justin O’Byrne</a:t>
            </a:r>
            <a:endParaRPr lang="en-GB" sz="2000" dirty="0">
              <a:solidFill>
                <a:srgbClr val="242424"/>
              </a:solidFill>
              <a:latin typeface="Calibri" panose="020F0502020204030204" pitchFamily="34" charset="0"/>
            </a:endParaRPr>
          </a:p>
          <a:p>
            <a:pPr marL="0" indent="0">
              <a:spcBef>
                <a:spcPts val="0"/>
              </a:spcBef>
              <a:buNone/>
            </a:pPr>
            <a:r>
              <a:rPr lang="en-GB" sz="2000" dirty="0">
                <a:solidFill>
                  <a:srgbClr val="242424"/>
                </a:solidFill>
              </a:rPr>
              <a:t>Katherine Rooke</a:t>
            </a:r>
            <a:endParaRPr lang="en-GB" sz="2000" dirty="0">
              <a:solidFill>
                <a:srgbClr val="242424"/>
              </a:solidFill>
              <a:latin typeface="Calibri" panose="020F0502020204030204" pitchFamily="34" charset="0"/>
            </a:endParaRPr>
          </a:p>
        </p:txBody>
      </p:sp>
    </p:spTree>
    <p:extLst>
      <p:ext uri="{BB962C8B-B14F-4D97-AF65-F5344CB8AC3E}">
        <p14:creationId xmlns:p14="http://schemas.microsoft.com/office/powerpoint/2010/main" val="1137917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0A402-FA95-024D-00D9-B6A9333C08C1}"/>
              </a:ext>
            </a:extLst>
          </p:cNvPr>
          <p:cNvSpPr>
            <a:spLocks noGrp="1"/>
          </p:cNvSpPr>
          <p:nvPr>
            <p:ph type="title"/>
          </p:nvPr>
        </p:nvSpPr>
        <p:spPr/>
        <p:txBody>
          <a:bodyPr/>
          <a:lstStyle/>
          <a:p>
            <a:r>
              <a:rPr lang="en-GB" dirty="0"/>
              <a:t>CAP </a:t>
            </a:r>
            <a:r>
              <a:rPr lang="en-GB" dirty="0" err="1"/>
              <a:t>ToR</a:t>
            </a:r>
            <a:r>
              <a:rPr lang="en-GB" dirty="0"/>
              <a:t> – Purpose </a:t>
            </a:r>
          </a:p>
        </p:txBody>
      </p:sp>
      <p:sp>
        <p:nvSpPr>
          <p:cNvPr id="3" name="Content Placeholder 2">
            <a:extLst>
              <a:ext uri="{FF2B5EF4-FFF2-40B4-BE49-F238E27FC236}">
                <a16:creationId xmlns:a16="http://schemas.microsoft.com/office/drawing/2014/main" id="{7C6B51BF-2C68-4D79-C03A-6A3EDDD3C1D5}"/>
              </a:ext>
            </a:extLst>
          </p:cNvPr>
          <p:cNvSpPr>
            <a:spLocks noGrp="1"/>
          </p:cNvSpPr>
          <p:nvPr>
            <p:ph idx="1"/>
          </p:nvPr>
        </p:nvSpPr>
        <p:spPr/>
        <p:txBody>
          <a:bodyPr>
            <a:normAutofit fontScale="70000" lnSpcReduction="20000"/>
          </a:bodyPr>
          <a:lstStyle/>
          <a:p>
            <a:pPr marL="0" indent="0">
              <a:buNone/>
            </a:pPr>
            <a:r>
              <a:rPr lang="en-GB" dirty="0"/>
              <a:t>The purpose of the Computing Advisory Panel (CAP) is to advise the STFC Executive on the strategy and management of requirements for Digital Research Infrastructure (DRI) activities and any related issues and opportunities, </a:t>
            </a:r>
            <a:r>
              <a:rPr lang="en-GB" b="1" dirty="0"/>
              <a:t>including but not limited to, high performance and high throughput computing, data and data storage, security, data network, skills and people</a:t>
            </a:r>
            <a:r>
              <a:rPr lang="en-GB" dirty="0"/>
              <a:t> in support of the STFC science and facilities programme.  </a:t>
            </a:r>
          </a:p>
          <a:p>
            <a:pPr marL="0" indent="0">
              <a:buNone/>
            </a:pPr>
            <a:endParaRPr lang="en-GB" dirty="0"/>
          </a:p>
          <a:p>
            <a:pPr marL="0" indent="0">
              <a:buNone/>
            </a:pPr>
            <a:r>
              <a:rPr lang="en-GB" dirty="0"/>
              <a:t>The CAP will act as an ‘expert and critical friend’ in computing to provide a link between both the Particle Physics, Astronomy, and Nuclear Physics (PPAN) Science Board and the Facilities and Laboratories Science Board, while providing independent advice and reporting to STFC’s Executive Board around issues and opportunities relating to DRI within STFC and UKRI (where relevant).   </a:t>
            </a:r>
          </a:p>
          <a:p>
            <a:pPr marL="0" indent="0">
              <a:buNone/>
            </a:pPr>
            <a:endParaRPr lang="en-GB" dirty="0"/>
          </a:p>
          <a:p>
            <a:pPr marL="0" indent="0">
              <a:buNone/>
            </a:pPr>
            <a:r>
              <a:rPr lang="en-GB" b="1" dirty="0"/>
              <a:t>Alongside the evolving role of IRIS in collating and scrutinising STFC’s PPAN and facilities/labs DRI requirements, CAP will also review and validate the outputs of IRIS. This will be done on an annual basis. </a:t>
            </a:r>
          </a:p>
        </p:txBody>
      </p:sp>
      <p:sp>
        <p:nvSpPr>
          <p:cNvPr id="4" name="Rectangle 3">
            <a:extLst>
              <a:ext uri="{FF2B5EF4-FFF2-40B4-BE49-F238E27FC236}">
                <a16:creationId xmlns:a16="http://schemas.microsoft.com/office/drawing/2014/main" id="{8F01DDFD-5C61-BA78-8C0C-71FFCE56D5F3}"/>
              </a:ext>
            </a:extLst>
          </p:cNvPr>
          <p:cNvSpPr/>
          <p:nvPr/>
        </p:nvSpPr>
        <p:spPr>
          <a:xfrm rot="20272400">
            <a:off x="9339448" y="5591871"/>
            <a:ext cx="2531462" cy="923330"/>
          </a:xfrm>
          <a:prstGeom prst="rect">
            <a:avLst/>
          </a:prstGeom>
          <a:noFill/>
        </p:spPr>
        <p:txBody>
          <a:bodyPr wrap="none" lIns="91440" tIns="45720" rIns="91440" bIns="45720">
            <a:spAutoFit/>
          </a:bodyPr>
          <a:lstStyle/>
          <a:p>
            <a:pPr algn="ctr"/>
            <a:r>
              <a:rPr lang="en-US" sz="5400" b="1" cap="none" spc="0" dirty="0">
                <a:ln w="10160">
                  <a:solidFill>
                    <a:srgbClr val="FF0000"/>
                  </a:solidFill>
                  <a:prstDash val="solid"/>
                </a:ln>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effectLst>
                  <a:outerShdw blurRad="38100" dist="22860" dir="5400000" algn="tl" rotWithShape="0">
                    <a:srgbClr val="000000">
                      <a:alpha val="30000"/>
                    </a:srgbClr>
                  </a:outerShdw>
                </a:effectLst>
              </a:rPr>
              <a:t>DRAFT</a:t>
            </a:r>
          </a:p>
        </p:txBody>
      </p:sp>
    </p:spTree>
    <p:extLst>
      <p:ext uri="{BB962C8B-B14F-4D97-AF65-F5344CB8AC3E}">
        <p14:creationId xmlns:p14="http://schemas.microsoft.com/office/powerpoint/2010/main" val="12950685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F27878-986E-644C-7067-7E309864C4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0599CDA-F07E-FFF5-DE6A-3E24FDAF4F47}"/>
              </a:ext>
            </a:extLst>
          </p:cNvPr>
          <p:cNvSpPr>
            <a:spLocks noGrp="1"/>
          </p:cNvSpPr>
          <p:nvPr>
            <p:ph type="title"/>
          </p:nvPr>
        </p:nvSpPr>
        <p:spPr/>
        <p:txBody>
          <a:bodyPr/>
          <a:lstStyle/>
          <a:p>
            <a:r>
              <a:rPr lang="en-GB" dirty="0"/>
              <a:t> CAP </a:t>
            </a:r>
            <a:r>
              <a:rPr lang="en-GB" dirty="0" err="1"/>
              <a:t>ToR</a:t>
            </a:r>
            <a:r>
              <a:rPr lang="en-GB" dirty="0"/>
              <a:t> - Remit</a:t>
            </a:r>
          </a:p>
        </p:txBody>
      </p:sp>
      <p:sp>
        <p:nvSpPr>
          <p:cNvPr id="3" name="Content Placeholder 2">
            <a:extLst>
              <a:ext uri="{FF2B5EF4-FFF2-40B4-BE49-F238E27FC236}">
                <a16:creationId xmlns:a16="http://schemas.microsoft.com/office/drawing/2014/main" id="{F7725788-B972-4D6F-7CCC-763457F179A0}"/>
              </a:ext>
            </a:extLst>
          </p:cNvPr>
          <p:cNvSpPr>
            <a:spLocks noGrp="1"/>
          </p:cNvSpPr>
          <p:nvPr>
            <p:ph idx="1"/>
          </p:nvPr>
        </p:nvSpPr>
        <p:spPr/>
        <p:txBody>
          <a:bodyPr>
            <a:normAutofit fontScale="70000" lnSpcReduction="20000"/>
          </a:bodyPr>
          <a:lstStyle/>
          <a:p>
            <a:r>
              <a:rPr lang="en-GB" dirty="0"/>
              <a:t>The current status of Digital Research Infrastructure (DRI), how it operates within UKRI, with a specific focus on STFC, and potential future requirements of and opportunities for Digital Research Infrastructure (DRI), including (but not limited to) computing resources, data handling and storage, software, as well as associated skills development and career pathways for the science communities, facilities and programmes supported by STFC. </a:t>
            </a:r>
          </a:p>
          <a:p>
            <a:r>
              <a:rPr lang="en-GB" dirty="0"/>
              <a:t>Future potential strategies, frameworks and plans to coordinate scientific computing provision across STFC and UKRI (where relevant), and coordinating DRI, and High-Performance Computing (HPC) developments across UKRI and other relevant national and international activities. CAP should also comment on how STFC fits within the broader national and international context. </a:t>
            </a:r>
          </a:p>
          <a:p>
            <a:r>
              <a:rPr lang="en-GB" dirty="0"/>
              <a:t>The development of STFC's requirements for next generation computing facilities working across STFC and UKRI as well as understanding international opportunities.  </a:t>
            </a:r>
          </a:p>
          <a:p>
            <a:r>
              <a:rPr lang="en-GB" dirty="0"/>
              <a:t>DRI priorities for funding and mechanisms across STFC and beyond, to support the highest quality, high impact programmes. </a:t>
            </a:r>
          </a:p>
          <a:p>
            <a:r>
              <a:rPr lang="en-GB" dirty="0"/>
              <a:t>The wider DRI funding context, potential new funding and in-kind routes (access to other communities, benefits and barriers), mechanisms to mitigate constraints and demands, including international routes for compute access. </a:t>
            </a:r>
            <a:endParaRPr lang="en-GB" b="1" dirty="0"/>
          </a:p>
        </p:txBody>
      </p:sp>
      <p:sp>
        <p:nvSpPr>
          <p:cNvPr id="4" name="Rectangle 3">
            <a:extLst>
              <a:ext uri="{FF2B5EF4-FFF2-40B4-BE49-F238E27FC236}">
                <a16:creationId xmlns:a16="http://schemas.microsoft.com/office/drawing/2014/main" id="{2292FB45-7B0C-0A1E-BE7B-188B9A133561}"/>
              </a:ext>
            </a:extLst>
          </p:cNvPr>
          <p:cNvSpPr/>
          <p:nvPr/>
        </p:nvSpPr>
        <p:spPr>
          <a:xfrm rot="20272400">
            <a:off x="9339448" y="5591871"/>
            <a:ext cx="2531462" cy="923330"/>
          </a:xfrm>
          <a:prstGeom prst="rect">
            <a:avLst/>
          </a:prstGeom>
          <a:noFill/>
        </p:spPr>
        <p:txBody>
          <a:bodyPr wrap="none" lIns="91440" tIns="45720" rIns="91440" bIns="45720">
            <a:spAutoFit/>
          </a:bodyPr>
          <a:lstStyle/>
          <a:p>
            <a:pPr algn="ctr"/>
            <a:r>
              <a:rPr lang="en-US" sz="5400" b="1" cap="none" spc="0" dirty="0">
                <a:ln w="10160">
                  <a:solidFill>
                    <a:srgbClr val="FF0000"/>
                  </a:solidFill>
                  <a:prstDash val="solid"/>
                </a:ln>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effectLst>
                  <a:outerShdw blurRad="38100" dist="22860" dir="5400000" algn="tl" rotWithShape="0">
                    <a:srgbClr val="000000">
                      <a:alpha val="30000"/>
                    </a:srgbClr>
                  </a:outerShdw>
                </a:effectLst>
              </a:rPr>
              <a:t>DRAFT</a:t>
            </a:r>
          </a:p>
        </p:txBody>
      </p:sp>
    </p:spTree>
    <p:extLst>
      <p:ext uri="{BB962C8B-B14F-4D97-AF65-F5344CB8AC3E}">
        <p14:creationId xmlns:p14="http://schemas.microsoft.com/office/powerpoint/2010/main" val="3478949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2ADB5-29A0-A2FF-08F0-6D406D6804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758DD7-4E4C-280D-CBED-C3E690E56DFA}"/>
              </a:ext>
            </a:extLst>
          </p:cNvPr>
          <p:cNvSpPr>
            <a:spLocks noGrp="1"/>
          </p:cNvSpPr>
          <p:nvPr>
            <p:ph type="title"/>
          </p:nvPr>
        </p:nvSpPr>
        <p:spPr/>
        <p:txBody>
          <a:bodyPr/>
          <a:lstStyle/>
          <a:p>
            <a:r>
              <a:rPr lang="en-GB" dirty="0"/>
              <a:t>CAP </a:t>
            </a:r>
            <a:r>
              <a:rPr lang="en-GB" dirty="0" err="1"/>
              <a:t>ToR</a:t>
            </a:r>
            <a:r>
              <a:rPr lang="en-GB" dirty="0"/>
              <a:t> - Remit</a:t>
            </a:r>
          </a:p>
        </p:txBody>
      </p:sp>
      <p:sp>
        <p:nvSpPr>
          <p:cNvPr id="3" name="Content Placeholder 2">
            <a:extLst>
              <a:ext uri="{FF2B5EF4-FFF2-40B4-BE49-F238E27FC236}">
                <a16:creationId xmlns:a16="http://schemas.microsoft.com/office/drawing/2014/main" id="{27AE20D1-0A19-5622-2F3F-B4B6887B186E}"/>
              </a:ext>
            </a:extLst>
          </p:cNvPr>
          <p:cNvSpPr>
            <a:spLocks noGrp="1"/>
          </p:cNvSpPr>
          <p:nvPr>
            <p:ph idx="1"/>
          </p:nvPr>
        </p:nvSpPr>
        <p:spPr/>
        <p:txBody>
          <a:bodyPr>
            <a:normAutofit fontScale="70000" lnSpcReduction="20000"/>
          </a:bodyPr>
          <a:lstStyle/>
          <a:p>
            <a:pPr>
              <a:spcBef>
                <a:spcPts val="1200"/>
              </a:spcBef>
            </a:pPr>
            <a:r>
              <a:rPr lang="en-GB" dirty="0"/>
              <a:t>Opportunities for dissemination and synergies with other programmes, and to explore areas of leadership and scenarios in driving development within DRI across STFC. </a:t>
            </a:r>
          </a:p>
          <a:p>
            <a:pPr>
              <a:spcBef>
                <a:spcPts val="1200"/>
              </a:spcBef>
            </a:pPr>
            <a:r>
              <a:rPr lang="en-GB" dirty="0"/>
              <a:t>Future or emerging opportunities in area such as AI, ML and Quantum Computing in the context of the DRI portfolio, including gaps and opportunities to upskill individuals on these emerging fields. </a:t>
            </a:r>
          </a:p>
          <a:p>
            <a:pPr>
              <a:spcBef>
                <a:spcPts val="1200"/>
              </a:spcBef>
            </a:pPr>
            <a:r>
              <a:rPr lang="en-GB" dirty="0"/>
              <a:t>Opportunities and challenges to improve Environmental Sustainability of and within the DRI landscape, including energy consumption taking account of UKRI and STFC goals together with government targets for net zero. This include, advise STFC on how efficiencies might be driven in DRI operations across its projects and research areas. </a:t>
            </a:r>
          </a:p>
          <a:p>
            <a:pPr>
              <a:spcBef>
                <a:spcPts val="1200"/>
              </a:spcBef>
            </a:pPr>
            <a:r>
              <a:rPr lang="en-GB" dirty="0"/>
              <a:t>Technical developments and trends in industry, including potential collaborative partnerships and knowledge exchange.  </a:t>
            </a:r>
          </a:p>
          <a:p>
            <a:pPr>
              <a:spcBef>
                <a:spcPts val="1200"/>
              </a:spcBef>
            </a:pPr>
            <a:r>
              <a:rPr lang="en-GB" dirty="0"/>
              <a:t>Requirements, opportunities and challenges for data protection, and the ethical collection and use of data and advise on best practice where applicable. </a:t>
            </a:r>
          </a:p>
          <a:p>
            <a:pPr>
              <a:spcBef>
                <a:spcPts val="1200"/>
              </a:spcBef>
            </a:pPr>
            <a:r>
              <a:rPr lang="en-GB" dirty="0"/>
              <a:t>The CAP will be asked to review and advise on computing resources allocation processes and outcomes for STFC projects, activities and facilities. </a:t>
            </a:r>
            <a:endParaRPr lang="en-GB" b="1" dirty="0"/>
          </a:p>
        </p:txBody>
      </p:sp>
      <p:sp>
        <p:nvSpPr>
          <p:cNvPr id="4" name="Rectangle 3">
            <a:extLst>
              <a:ext uri="{FF2B5EF4-FFF2-40B4-BE49-F238E27FC236}">
                <a16:creationId xmlns:a16="http://schemas.microsoft.com/office/drawing/2014/main" id="{7D1B534B-A341-4C93-25D4-4024DB7DEDDE}"/>
              </a:ext>
            </a:extLst>
          </p:cNvPr>
          <p:cNvSpPr/>
          <p:nvPr/>
        </p:nvSpPr>
        <p:spPr>
          <a:xfrm rot="20272400">
            <a:off x="9339448" y="5591871"/>
            <a:ext cx="2531462" cy="923330"/>
          </a:xfrm>
          <a:prstGeom prst="rect">
            <a:avLst/>
          </a:prstGeom>
          <a:noFill/>
        </p:spPr>
        <p:txBody>
          <a:bodyPr wrap="none" lIns="91440" tIns="45720" rIns="91440" bIns="45720">
            <a:spAutoFit/>
          </a:bodyPr>
          <a:lstStyle/>
          <a:p>
            <a:pPr algn="ctr"/>
            <a:r>
              <a:rPr lang="en-US" sz="5400" b="1" cap="none" spc="0" dirty="0">
                <a:ln w="10160">
                  <a:solidFill>
                    <a:srgbClr val="FF0000"/>
                  </a:solidFill>
                  <a:prstDash val="solid"/>
                </a:ln>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lin ang="2700000" scaled="1"/>
                  <a:tileRect/>
                </a:gradFill>
                <a:effectLst>
                  <a:outerShdw blurRad="38100" dist="22860" dir="5400000" algn="tl" rotWithShape="0">
                    <a:srgbClr val="000000">
                      <a:alpha val="30000"/>
                    </a:srgbClr>
                  </a:outerShdw>
                </a:effectLst>
              </a:rPr>
              <a:t>DRAFT</a:t>
            </a:r>
          </a:p>
        </p:txBody>
      </p:sp>
    </p:spTree>
    <p:extLst>
      <p:ext uri="{BB962C8B-B14F-4D97-AF65-F5344CB8AC3E}">
        <p14:creationId xmlns:p14="http://schemas.microsoft.com/office/powerpoint/2010/main" val="3591469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FD055A-EE9D-CBD0-B41B-2BA78779EE08}"/>
              </a:ext>
            </a:extLst>
          </p:cNvPr>
          <p:cNvPicPr>
            <a:picLocks noChangeAspect="1"/>
          </p:cNvPicPr>
          <p:nvPr/>
        </p:nvPicPr>
        <p:blipFill rotWithShape="1">
          <a:blip r:embed="rId3"/>
          <a:srcRect l="1309" t="29344" b="4273"/>
          <a:stretch/>
        </p:blipFill>
        <p:spPr>
          <a:xfrm rot="10800000">
            <a:off x="702718" y="-3"/>
            <a:ext cx="11489279" cy="6858002"/>
          </a:xfrm>
          <a:prstGeom prst="rect">
            <a:avLst/>
          </a:prstGeom>
        </p:spPr>
      </p:pic>
      <p:sp>
        <p:nvSpPr>
          <p:cNvPr id="8" name="TextBox 7">
            <a:extLst>
              <a:ext uri="{FF2B5EF4-FFF2-40B4-BE49-F238E27FC236}">
                <a16:creationId xmlns:a16="http://schemas.microsoft.com/office/drawing/2014/main" id="{A1A39C34-E01A-FD49-8603-2E8AE6BB5606}"/>
              </a:ext>
            </a:extLst>
          </p:cNvPr>
          <p:cNvSpPr txBox="1"/>
          <p:nvPr/>
        </p:nvSpPr>
        <p:spPr>
          <a:xfrm>
            <a:off x="702712" y="2942998"/>
            <a:ext cx="8316591" cy="830997"/>
          </a:xfrm>
          <a:prstGeom prst="rect">
            <a:avLst/>
          </a:prstGeom>
          <a:noFill/>
        </p:spPr>
        <p:txBody>
          <a:bodyPr wrap="square" rtlCol="0" anchor="t">
            <a:spAutoFit/>
          </a:bodyPr>
          <a:lstStyle/>
          <a:p>
            <a:r>
              <a:rPr lang="en-US" sz="4800" b="1" spc="-160" dirty="0">
                <a:solidFill>
                  <a:srgbClr val="2E2D62"/>
                </a:solidFill>
                <a:latin typeface="Arial" panose="020B0604020202020204" pitchFamily="34" charset="0"/>
                <a:cs typeface="Arial" panose="020B0604020202020204" pitchFamily="34" charset="0"/>
              </a:rPr>
              <a:t>UKRI DRI Update</a:t>
            </a:r>
            <a:endParaRPr lang="en-US" sz="4800" b="1" spc="-150" dirty="0">
              <a:solidFill>
                <a:srgbClr val="002060"/>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7DEB608-4DB6-BD46-9EA8-B6ACD0AD7131}"/>
              </a:ext>
            </a:extLst>
          </p:cNvPr>
          <p:cNvPicPr>
            <a:picLocks noChangeAspect="1"/>
          </p:cNvPicPr>
          <p:nvPr/>
        </p:nvPicPr>
        <p:blipFill>
          <a:blip r:embed="rId4"/>
          <a:stretch>
            <a:fillRect/>
          </a:stretch>
        </p:blipFill>
        <p:spPr>
          <a:xfrm>
            <a:off x="146050" y="141003"/>
            <a:ext cx="3619500" cy="1554480"/>
          </a:xfrm>
          <a:prstGeom prst="rect">
            <a:avLst/>
          </a:prstGeom>
        </p:spPr>
      </p:pic>
      <p:pic>
        <p:nvPicPr>
          <p:cNvPr id="5" name="Picture 4">
            <a:extLst>
              <a:ext uri="{FF2B5EF4-FFF2-40B4-BE49-F238E27FC236}">
                <a16:creationId xmlns:a16="http://schemas.microsoft.com/office/drawing/2014/main" id="{11B5395C-8EED-44F5-2EA7-0E9C1C54FE9F}"/>
              </a:ext>
            </a:extLst>
          </p:cNvPr>
          <p:cNvPicPr>
            <a:picLocks noChangeAspect="1"/>
          </p:cNvPicPr>
          <p:nvPr/>
        </p:nvPicPr>
        <p:blipFill rotWithShape="1">
          <a:blip r:embed="rId5"/>
          <a:srcRect l="39723" t="3438" r="41861" b="20967"/>
          <a:stretch/>
        </p:blipFill>
        <p:spPr>
          <a:xfrm rot="16200000">
            <a:off x="4189208" y="-1285798"/>
            <a:ext cx="6716998" cy="9288591"/>
          </a:xfrm>
          <a:prstGeom prst="rect">
            <a:avLst/>
          </a:prstGeom>
        </p:spPr>
      </p:pic>
    </p:spTree>
    <p:extLst>
      <p:ext uri="{BB962C8B-B14F-4D97-AF65-F5344CB8AC3E}">
        <p14:creationId xmlns:p14="http://schemas.microsoft.com/office/powerpoint/2010/main" val="3188145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CA736-D68F-A2AC-4B0E-4452F5107748}"/>
              </a:ext>
            </a:extLst>
          </p:cNvPr>
          <p:cNvSpPr>
            <a:spLocks noGrp="1"/>
          </p:cNvSpPr>
          <p:nvPr>
            <p:ph type="title"/>
          </p:nvPr>
        </p:nvSpPr>
        <p:spPr>
          <a:xfrm>
            <a:off x="577049" y="0"/>
            <a:ext cx="10515600" cy="1325563"/>
          </a:xfrm>
        </p:spPr>
        <p:txBody>
          <a:bodyPr/>
          <a:lstStyle/>
          <a:p>
            <a:r>
              <a:rPr lang="en-GB"/>
              <a:t>How we invest in Infrastructure</a:t>
            </a:r>
          </a:p>
        </p:txBody>
      </p:sp>
      <p:graphicFrame>
        <p:nvGraphicFramePr>
          <p:cNvPr id="17" name="Diagram 16">
            <a:extLst>
              <a:ext uri="{FF2B5EF4-FFF2-40B4-BE49-F238E27FC236}">
                <a16:creationId xmlns:a16="http://schemas.microsoft.com/office/drawing/2014/main" id="{B2CE92F2-11E7-26A8-2925-321186927E15}"/>
              </a:ext>
            </a:extLst>
          </p:cNvPr>
          <p:cNvGraphicFramePr/>
          <p:nvPr/>
        </p:nvGraphicFramePr>
        <p:xfrm>
          <a:off x="289908" y="1793290"/>
          <a:ext cx="11765967" cy="45324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 name="TextBox 17">
            <a:extLst>
              <a:ext uri="{FF2B5EF4-FFF2-40B4-BE49-F238E27FC236}">
                <a16:creationId xmlns:a16="http://schemas.microsoft.com/office/drawing/2014/main" id="{E28E5E62-4A0E-3E7D-4212-40073BA8C4D5}"/>
              </a:ext>
            </a:extLst>
          </p:cNvPr>
          <p:cNvSpPr txBox="1"/>
          <p:nvPr/>
        </p:nvSpPr>
        <p:spPr>
          <a:xfrm>
            <a:off x="7541570" y="6084044"/>
            <a:ext cx="451430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¹Includes resource fund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UKRPIF = UK Research Partnership Investment F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srgbClr val="000000">
                    <a:lumMod val="85000"/>
                    <a:lumOff val="15000"/>
                  </a:srgbClr>
                </a:solidFill>
                <a:effectLst/>
                <a:uLnTx/>
                <a:uFillTx/>
                <a:latin typeface="Arial" panose="020B0604020202020204"/>
                <a:ea typeface="+mn-ea"/>
                <a:cs typeface="+mn-cs"/>
              </a:rPr>
              <a:t>WCL = World Class Labs</a:t>
            </a:r>
          </a:p>
        </p:txBody>
      </p:sp>
      <p:sp>
        <p:nvSpPr>
          <p:cNvPr id="19" name="TextBox 18">
            <a:extLst>
              <a:ext uri="{FF2B5EF4-FFF2-40B4-BE49-F238E27FC236}">
                <a16:creationId xmlns:a16="http://schemas.microsoft.com/office/drawing/2014/main" id="{27540CD2-A950-5477-88F9-503C90D2734D}"/>
              </a:ext>
            </a:extLst>
          </p:cNvPr>
          <p:cNvSpPr txBox="1"/>
          <p:nvPr/>
        </p:nvSpPr>
        <p:spPr>
          <a:xfrm>
            <a:off x="703841" y="2450129"/>
            <a:ext cx="215209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For this SR period </a:t>
            </a:r>
            <a:br>
              <a:rPr kumimoji="0" lang="en-GB" sz="1800" b="1"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22/23 – 24/25)</a:t>
            </a:r>
          </a:p>
        </p:txBody>
      </p:sp>
      <p:sp>
        <p:nvSpPr>
          <p:cNvPr id="21" name="TextBox 20">
            <a:extLst>
              <a:ext uri="{FF2B5EF4-FFF2-40B4-BE49-F238E27FC236}">
                <a16:creationId xmlns:a16="http://schemas.microsoft.com/office/drawing/2014/main" id="{9DEAE49F-4107-74FE-58DD-22C9C32471A2}"/>
              </a:ext>
            </a:extLst>
          </p:cNvPr>
          <p:cNvSpPr txBox="1"/>
          <p:nvPr/>
        </p:nvSpPr>
        <p:spPr>
          <a:xfrm>
            <a:off x="397263" y="1171342"/>
            <a:ext cx="11191523" cy="757130"/>
          </a:xfrm>
          <a:prstGeom prst="rect">
            <a:avLst/>
          </a:prstGeom>
          <a:noFill/>
        </p:spPr>
        <p:txBody>
          <a:bodyPr wrap="square"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GB" sz="2400" b="0" i="0" u="none" strike="noStrike" kern="1200" cap="none" spc="0" normalizeH="0" baseline="0" noProof="0">
                <a:ln>
                  <a:noFill/>
                </a:ln>
                <a:solidFill>
                  <a:srgbClr val="000000">
                    <a:lumMod val="65000"/>
                    <a:lumOff val="35000"/>
                  </a:srgbClr>
                </a:solidFill>
                <a:effectLst/>
                <a:uLnTx/>
                <a:uFillTx/>
                <a:latin typeface="Arial" panose="020B0604020202020204" pitchFamily="34" charset="0"/>
                <a:ea typeface="+mn-ea"/>
                <a:cs typeface="Arial" panose="020B0604020202020204" pitchFamily="34" charset="0"/>
              </a:rPr>
              <a:t>From large (£100m’s) to small (£10k+), from buildings and facilities, to knowledge resources, digital and estates functions, through:</a:t>
            </a:r>
          </a:p>
        </p:txBody>
      </p:sp>
    </p:spTree>
    <p:extLst>
      <p:ext uri="{BB962C8B-B14F-4D97-AF65-F5344CB8AC3E}">
        <p14:creationId xmlns:p14="http://schemas.microsoft.com/office/powerpoint/2010/main" val="21851420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267D59DA-8C19-F54D-9EC4-121AB2D24994}"/>
              </a:ext>
            </a:extLst>
          </p:cNvPr>
          <p:cNvSpPr/>
          <p:nvPr/>
        </p:nvSpPr>
        <p:spPr>
          <a:xfrm>
            <a:off x="2281807" y="0"/>
            <a:ext cx="9910194" cy="6858000"/>
          </a:xfrm>
          <a:prstGeom prst="rect">
            <a:avLst/>
          </a:prstGeom>
          <a:solidFill>
            <a:srgbClr val="2E2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5D4E809E-78AC-3A45-AFB4-F73FBF15E187}"/>
              </a:ext>
            </a:extLst>
          </p:cNvPr>
          <p:cNvSpPr txBox="1"/>
          <p:nvPr/>
        </p:nvSpPr>
        <p:spPr>
          <a:xfrm>
            <a:off x="3263317" y="1497330"/>
            <a:ext cx="8332988" cy="4905189"/>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7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t>A globally competitive Digital Research Infrastructure (DRI) is essential for the UK to support cutting-edge research and innovation. The DRI Programme aims to drive the competitiveness of the UK’s researchers and innovators by greater adoption of cutting-edge digital techniques across all communities of practic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GB" sz="17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GB" sz="17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7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rPr>
              <a:t>We support the system of large-scale compute and data infrastructures, software, networks, tooling and skilled DRI professional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mn-cs"/>
              </a:rPr>
              <a:t>Our vision is a coherent state-of-the-art national Digital Research Infrastructure (DRI) that will seamlessly connect researchers and innovators to the computers, data, tools, techniques and skills that underpin the most ambitious and creative research</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Roboto Medium" panose="02000000000000000000" pitchFamily="2" charset="0"/>
              <a:ea typeface="Roboto Medium" panose="02000000000000000000" pitchFamily="2" charset="0"/>
              <a:cs typeface="+mn-cs"/>
            </a:endParaRPr>
          </a:p>
        </p:txBody>
      </p:sp>
      <p:sp>
        <p:nvSpPr>
          <p:cNvPr id="36" name="TextBox 35">
            <a:extLst>
              <a:ext uri="{FF2B5EF4-FFF2-40B4-BE49-F238E27FC236}">
                <a16:creationId xmlns:a16="http://schemas.microsoft.com/office/drawing/2014/main" id="{425A5A56-A098-FD47-89E7-51234329AA31}"/>
              </a:ext>
            </a:extLst>
          </p:cNvPr>
          <p:cNvSpPr txBox="1"/>
          <p:nvPr/>
        </p:nvSpPr>
        <p:spPr>
          <a:xfrm>
            <a:off x="3441208" y="211859"/>
            <a:ext cx="786384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Moderat Extended" pitchFamily="2" charset="77"/>
                <a:ea typeface="+mn-ea"/>
                <a:cs typeface="+mn-cs"/>
              </a:rPr>
              <a:t>UKRI’s Digital Research Infrastructure Programme</a:t>
            </a:r>
          </a:p>
        </p:txBody>
      </p:sp>
      <p:sp>
        <p:nvSpPr>
          <p:cNvPr id="38" name="Rounded Rectangle 37">
            <a:extLst>
              <a:ext uri="{FF2B5EF4-FFF2-40B4-BE49-F238E27FC236}">
                <a16:creationId xmlns:a16="http://schemas.microsoft.com/office/drawing/2014/main" id="{FD7534C2-A948-BF43-828C-2A6AC6B0D7FD}"/>
              </a:ext>
            </a:extLst>
          </p:cNvPr>
          <p:cNvSpPr/>
          <p:nvPr/>
        </p:nvSpPr>
        <p:spPr>
          <a:xfrm>
            <a:off x="181143" y="2083647"/>
            <a:ext cx="2646564" cy="576703"/>
          </a:xfrm>
          <a:prstGeom prst="roundRect">
            <a:avLst>
              <a:gd name="adj" fmla="val 13050"/>
            </a:avLst>
          </a:prstGeom>
          <a:solidFill>
            <a:srgbClr val="FBBB1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699DDD34-F212-D849-AEF8-68ABA17DAE8E}"/>
              </a:ext>
            </a:extLst>
          </p:cNvPr>
          <p:cNvSpPr txBox="1"/>
          <p:nvPr/>
        </p:nvSpPr>
        <p:spPr>
          <a:xfrm>
            <a:off x="838288" y="2243021"/>
            <a:ext cx="2155232" cy="298132"/>
          </a:xfrm>
          <a:prstGeom prst="rect">
            <a:avLst/>
          </a:prstGeom>
          <a:noFill/>
        </p:spPr>
        <p:txBody>
          <a:bodyPr wrap="square" rtlCol="0">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Interconnected DRI</a:t>
            </a:r>
            <a:endPar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p:txBody>
      </p:sp>
      <p:pic>
        <p:nvPicPr>
          <p:cNvPr id="40" name="Graphic 39">
            <a:extLst>
              <a:ext uri="{FF2B5EF4-FFF2-40B4-BE49-F238E27FC236}">
                <a16:creationId xmlns:a16="http://schemas.microsoft.com/office/drawing/2014/main" id="{4F199F5E-849A-7F42-BB44-76146D5523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10553" y="2146940"/>
            <a:ext cx="462626" cy="460825"/>
          </a:xfrm>
          <a:prstGeom prst="rect">
            <a:avLst/>
          </a:prstGeom>
        </p:spPr>
      </p:pic>
      <p:sp>
        <p:nvSpPr>
          <p:cNvPr id="20" name="Rounded Rectangle 19">
            <a:extLst>
              <a:ext uri="{FF2B5EF4-FFF2-40B4-BE49-F238E27FC236}">
                <a16:creationId xmlns:a16="http://schemas.microsoft.com/office/drawing/2014/main" id="{20887DA9-E043-1243-80E2-7024EB7C985A}"/>
              </a:ext>
            </a:extLst>
          </p:cNvPr>
          <p:cNvSpPr/>
          <p:nvPr/>
        </p:nvSpPr>
        <p:spPr>
          <a:xfrm>
            <a:off x="181143" y="2739538"/>
            <a:ext cx="2646564" cy="576703"/>
          </a:xfrm>
          <a:prstGeom prst="roundRect">
            <a:avLst>
              <a:gd name="adj" fmla="val 14893"/>
            </a:avLst>
          </a:prstGeom>
          <a:solidFill>
            <a:srgbClr val="00BED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2EEC8170-485A-E348-9921-922BEF056660}"/>
              </a:ext>
            </a:extLst>
          </p:cNvPr>
          <p:cNvSpPr txBox="1"/>
          <p:nvPr/>
        </p:nvSpPr>
        <p:spPr>
          <a:xfrm>
            <a:off x="838287" y="2898912"/>
            <a:ext cx="1893454" cy="298132"/>
          </a:xfrm>
          <a:prstGeom prst="rect">
            <a:avLst/>
          </a:prstGeom>
          <a:noFill/>
        </p:spPr>
        <p:txBody>
          <a:bodyPr wrap="square" rtlCol="0">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Human DRI</a:t>
            </a:r>
            <a:endPar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p:txBody>
      </p:sp>
      <p:sp>
        <p:nvSpPr>
          <p:cNvPr id="41" name="Rounded Rectangle 40">
            <a:extLst>
              <a:ext uri="{FF2B5EF4-FFF2-40B4-BE49-F238E27FC236}">
                <a16:creationId xmlns:a16="http://schemas.microsoft.com/office/drawing/2014/main" id="{090464E7-5080-ED42-A0C3-6CA6E00363CD}"/>
              </a:ext>
            </a:extLst>
          </p:cNvPr>
          <p:cNvSpPr/>
          <p:nvPr/>
        </p:nvSpPr>
        <p:spPr>
          <a:xfrm>
            <a:off x="181143" y="3399237"/>
            <a:ext cx="2646564" cy="576703"/>
          </a:xfrm>
          <a:prstGeom prst="roundRect">
            <a:avLst>
              <a:gd name="adj" fmla="val 14893"/>
            </a:avLst>
          </a:prstGeom>
          <a:solidFill>
            <a:srgbClr val="FF5A5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54FD2065-64BB-9647-B58A-B5AF8A102675}"/>
              </a:ext>
            </a:extLst>
          </p:cNvPr>
          <p:cNvSpPr txBox="1"/>
          <p:nvPr/>
        </p:nvSpPr>
        <p:spPr>
          <a:xfrm>
            <a:off x="838287" y="3558612"/>
            <a:ext cx="1893454" cy="298132"/>
          </a:xfrm>
          <a:prstGeom prst="rect">
            <a:avLst/>
          </a:prstGeom>
          <a:noFill/>
        </p:spPr>
        <p:txBody>
          <a:bodyPr wrap="square" rtlCol="0">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rPr>
              <a:t>FAIR DRI</a:t>
            </a:r>
            <a:endParaRPr kumimoji="0" lang="en-GB" sz="1600" b="0" i="0" u="none" strike="noStrike" kern="1200" cap="none" spc="0" normalizeH="0" baseline="0" noProof="0">
              <a:ln>
                <a:noFill/>
              </a:ln>
              <a:solidFill>
                <a:srgbClr val="000000"/>
              </a:solidFill>
              <a:effectLst/>
              <a:uLnTx/>
              <a:uFillTx/>
              <a:latin typeface="Roboto" panose="02000000000000000000" pitchFamily="2" charset="0"/>
              <a:ea typeface="Roboto" panose="02000000000000000000" pitchFamily="2" charset="0"/>
              <a:cs typeface="+mn-cs"/>
            </a:endParaRPr>
          </a:p>
        </p:txBody>
      </p:sp>
      <p:sp>
        <p:nvSpPr>
          <p:cNvPr id="44" name="Rounded Rectangle 43">
            <a:extLst>
              <a:ext uri="{FF2B5EF4-FFF2-40B4-BE49-F238E27FC236}">
                <a16:creationId xmlns:a16="http://schemas.microsoft.com/office/drawing/2014/main" id="{D3906B95-66C6-0E4C-AE0B-93D174AF7EA5}"/>
              </a:ext>
            </a:extLst>
          </p:cNvPr>
          <p:cNvSpPr/>
          <p:nvPr/>
        </p:nvSpPr>
        <p:spPr>
          <a:xfrm>
            <a:off x="181143" y="4080203"/>
            <a:ext cx="2646564" cy="576703"/>
          </a:xfrm>
          <a:prstGeom prst="roundRect">
            <a:avLst>
              <a:gd name="adj" fmla="val 13050"/>
            </a:avLst>
          </a:prstGeom>
          <a:solidFill>
            <a:srgbClr val="34D5A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7BEBD359-EE2B-854A-95C0-1C75A3E3D9A8}"/>
              </a:ext>
            </a:extLst>
          </p:cNvPr>
          <p:cNvSpPr txBox="1"/>
          <p:nvPr/>
        </p:nvSpPr>
        <p:spPr>
          <a:xfrm>
            <a:off x="838287" y="4239577"/>
            <a:ext cx="1893454" cy="298132"/>
          </a:xfrm>
          <a:prstGeom prst="rect">
            <a:avLst/>
          </a:prstGeom>
          <a:noFill/>
        </p:spPr>
        <p:txBody>
          <a:bodyPr wrap="square" rtlCol="0">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rPr>
              <a:t>Sustainable DRI</a:t>
            </a:r>
            <a:endParaRPr kumimoji="0" lang="en-GB" sz="1600"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mn-cs"/>
            </a:endParaRPr>
          </a:p>
        </p:txBody>
      </p:sp>
      <p:pic>
        <p:nvPicPr>
          <p:cNvPr id="25" name="Graphic 24">
            <a:extLst>
              <a:ext uri="{FF2B5EF4-FFF2-40B4-BE49-F238E27FC236}">
                <a16:creationId xmlns:a16="http://schemas.microsoft.com/office/drawing/2014/main" id="{F3FEAD49-1CCF-CB4F-901C-3093FF2C09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07261" y="2771228"/>
            <a:ext cx="433109" cy="433109"/>
          </a:xfrm>
          <a:prstGeom prst="rect">
            <a:avLst/>
          </a:prstGeom>
        </p:spPr>
      </p:pic>
      <p:pic>
        <p:nvPicPr>
          <p:cNvPr id="31" name="Graphic 30">
            <a:extLst>
              <a:ext uri="{FF2B5EF4-FFF2-40B4-BE49-F238E27FC236}">
                <a16:creationId xmlns:a16="http://schemas.microsoft.com/office/drawing/2014/main" id="{7063E57E-1DAF-D34B-87CE-698CAAF3AE3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10441" y="3490245"/>
            <a:ext cx="429928" cy="429928"/>
          </a:xfrm>
          <a:prstGeom prst="rect">
            <a:avLst/>
          </a:prstGeom>
        </p:spPr>
      </p:pic>
      <p:pic>
        <p:nvPicPr>
          <p:cNvPr id="34" name="Graphic 33">
            <a:extLst>
              <a:ext uri="{FF2B5EF4-FFF2-40B4-BE49-F238E27FC236}">
                <a16:creationId xmlns:a16="http://schemas.microsoft.com/office/drawing/2014/main" id="{AADD473D-156A-0545-B239-A434EAD35A0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6095" y="4132987"/>
            <a:ext cx="457116" cy="457116"/>
          </a:xfrm>
          <a:prstGeom prst="rect">
            <a:avLst/>
          </a:prstGeom>
        </p:spPr>
      </p:pic>
    </p:spTree>
    <p:extLst>
      <p:ext uri="{BB962C8B-B14F-4D97-AF65-F5344CB8AC3E}">
        <p14:creationId xmlns:p14="http://schemas.microsoft.com/office/powerpoint/2010/main" val="39589166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ont and logo master">
  <a:themeElements>
    <a:clrScheme name="STFC theme">
      <a:dk1>
        <a:srgbClr val="2E2C61"/>
      </a:dk1>
      <a:lt1>
        <a:srgbClr val="FFFFFF"/>
      </a:lt1>
      <a:dk2>
        <a:srgbClr val="2E2C61"/>
      </a:dk2>
      <a:lt2>
        <a:srgbClr val="FFFFFF"/>
      </a:lt2>
      <a:accent1>
        <a:srgbClr val="1E5DF8"/>
      </a:accent1>
      <a:accent2>
        <a:srgbClr val="003088"/>
      </a:accent2>
      <a:accent3>
        <a:srgbClr val="F08900"/>
      </a:accent3>
      <a:accent4>
        <a:srgbClr val="616161"/>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ont WITHOUT logo master">
  <a:themeElements>
    <a:clrScheme name="STFC theme">
      <a:dk1>
        <a:srgbClr val="2E2C61"/>
      </a:dk1>
      <a:lt1>
        <a:srgbClr val="FFFFFF"/>
      </a:lt1>
      <a:dk2>
        <a:srgbClr val="2E2C61"/>
      </a:dk2>
      <a:lt2>
        <a:srgbClr val="FFFFFF"/>
      </a:lt2>
      <a:accent1>
        <a:srgbClr val="1E5DF8"/>
      </a:accent1>
      <a:accent2>
        <a:srgbClr val="003088"/>
      </a:accent2>
      <a:accent3>
        <a:srgbClr val="F08900"/>
      </a:accent3>
      <a:accent4>
        <a:srgbClr val="616161"/>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Font and logo master">
  <a:themeElements>
    <a:clrScheme name="UKRI theme">
      <a:dk1>
        <a:srgbClr val="000000"/>
      </a:dk1>
      <a:lt1>
        <a:srgbClr val="FFFFFF"/>
      </a:lt1>
      <a:dk2>
        <a:srgbClr val="44546A"/>
      </a:dk2>
      <a:lt2>
        <a:srgbClr val="E7E6E6"/>
      </a:lt2>
      <a:accent1>
        <a:srgbClr val="00A788"/>
      </a:accent1>
      <a:accent2>
        <a:srgbClr val="00BED5"/>
      </a:accent2>
      <a:accent3>
        <a:srgbClr val="1E5DF8"/>
      </a:accent3>
      <a:accent4>
        <a:srgbClr val="2E2C51"/>
      </a:accent4>
      <a:accent5>
        <a:srgbClr val="34D5AE"/>
      </a:accent5>
      <a:accent6>
        <a:srgbClr val="67C04D"/>
      </a:accent6>
      <a:hlink>
        <a:srgbClr val="676767"/>
      </a:hlink>
      <a:folHlink>
        <a:srgbClr val="BE2B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Font and logo master">
  <a:themeElements>
    <a:clrScheme name="UKRI theme">
      <a:dk1>
        <a:srgbClr val="000000"/>
      </a:dk1>
      <a:lt1>
        <a:srgbClr val="FFFFFF"/>
      </a:lt1>
      <a:dk2>
        <a:srgbClr val="44546A"/>
      </a:dk2>
      <a:lt2>
        <a:srgbClr val="E7E6E6"/>
      </a:lt2>
      <a:accent1>
        <a:srgbClr val="00A788"/>
      </a:accent1>
      <a:accent2>
        <a:srgbClr val="00BED5"/>
      </a:accent2>
      <a:accent3>
        <a:srgbClr val="1E5DF8"/>
      </a:accent3>
      <a:accent4>
        <a:srgbClr val="2E2C51"/>
      </a:accent4>
      <a:accent5>
        <a:srgbClr val="34D5AE"/>
      </a:accent5>
      <a:accent6>
        <a:srgbClr val="67C04D"/>
      </a:accent6>
      <a:hlink>
        <a:srgbClr val="676767"/>
      </a:hlink>
      <a:folHlink>
        <a:srgbClr val="BE2B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Font and logo master">
  <a:themeElements>
    <a:clrScheme name="STFC theme">
      <a:dk1>
        <a:srgbClr val="2E2C61"/>
      </a:dk1>
      <a:lt1>
        <a:srgbClr val="FFFFFF"/>
      </a:lt1>
      <a:dk2>
        <a:srgbClr val="2E2C61"/>
      </a:dk2>
      <a:lt2>
        <a:srgbClr val="FFFFFF"/>
      </a:lt2>
      <a:accent1>
        <a:srgbClr val="1E5DF8"/>
      </a:accent1>
      <a:accent2>
        <a:srgbClr val="003088"/>
      </a:accent2>
      <a:accent3>
        <a:srgbClr val="F08900"/>
      </a:accent3>
      <a:accent4>
        <a:srgbClr val="616161"/>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Font and logo master">
  <a:themeElements>
    <a:clrScheme name="UKRI theme">
      <a:dk1>
        <a:srgbClr val="000000"/>
      </a:dk1>
      <a:lt1>
        <a:srgbClr val="FFFFFF"/>
      </a:lt1>
      <a:dk2>
        <a:srgbClr val="44546A"/>
      </a:dk2>
      <a:lt2>
        <a:srgbClr val="E7E6E6"/>
      </a:lt2>
      <a:accent1>
        <a:srgbClr val="00A788"/>
      </a:accent1>
      <a:accent2>
        <a:srgbClr val="00BED5"/>
      </a:accent2>
      <a:accent3>
        <a:srgbClr val="1E5DF8"/>
      </a:accent3>
      <a:accent4>
        <a:srgbClr val="2E2C51"/>
      </a:accent4>
      <a:accent5>
        <a:srgbClr val="34D5AE"/>
      </a:accent5>
      <a:accent6>
        <a:srgbClr val="67C04D"/>
      </a:accent6>
      <a:hlink>
        <a:srgbClr val="676767"/>
      </a:hlink>
      <a:folHlink>
        <a:srgbClr val="BE2B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e32309d-f48d-4471-8991-55b065ac2ec9">
      <Terms xmlns="http://schemas.microsoft.com/office/infopath/2007/PartnerControls"/>
    </lcf76f155ced4ddcb4097134ff3c332f>
    <TaxCatchAll xmlns="5d2a7bdf-96b0-4308-940e-3e68c236cfe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419D85083640C458DB225BC1B6B112F" ma:contentTypeVersion="16" ma:contentTypeDescription="Create a new document." ma:contentTypeScope="" ma:versionID="ecb6fdbc95b7128ae6c855aead06ca3b">
  <xsd:schema xmlns:xsd="http://www.w3.org/2001/XMLSchema" xmlns:xs="http://www.w3.org/2001/XMLSchema" xmlns:p="http://schemas.microsoft.com/office/2006/metadata/properties" xmlns:ns2="3e32309d-f48d-4471-8991-55b065ac2ec9" xmlns:ns3="5d2a7bdf-96b0-4308-940e-3e68c236cfe2" targetNamespace="http://schemas.microsoft.com/office/2006/metadata/properties" ma:root="true" ma:fieldsID="e3228109375aff0327da3a13bdda0be5" ns2:_="" ns3:_="">
    <xsd:import namespace="3e32309d-f48d-4471-8991-55b065ac2ec9"/>
    <xsd:import namespace="5d2a7bdf-96b0-4308-940e-3e68c236cfe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32309d-f48d-4471-8991-55b065ac2ec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fe07c91c-676c-4292-ab42-0332d43006d1"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2a7bdf-96b0-4308-940e-3e68c236cfe2"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45a07ff4-85b6-4698-9293-e5256f19a7d9}" ma:internalName="TaxCatchAll" ma:showField="CatchAllData" ma:web="5d2a7bdf-96b0-4308-940e-3e68c236cfe2">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F1C4F4-B514-46B5-BA53-F3136A038A55}">
  <ds:schemaRefs>
    <ds:schemaRef ds:uri="3e32309d-f48d-4471-8991-55b065ac2ec9"/>
    <ds:schemaRef ds:uri="5d2a7bdf-96b0-4308-940e-3e68c236cfe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5D5D5B8-BF10-44EC-A741-7A15D8CEAE99}">
  <ds:schemaRefs>
    <ds:schemaRef ds:uri="http://schemas.microsoft.com/sharepoint/v3/contenttype/forms"/>
  </ds:schemaRefs>
</ds:datastoreItem>
</file>

<file path=customXml/itemProps3.xml><?xml version="1.0" encoding="utf-8"?>
<ds:datastoreItem xmlns:ds="http://schemas.openxmlformats.org/officeDocument/2006/customXml" ds:itemID="{B60A03AA-C9AC-447B-B6A9-A64B71A064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32309d-f48d-4471-8991-55b065ac2ec9"/>
    <ds:schemaRef ds:uri="5d2a7bdf-96b0-4308-940e-3e68c236cfe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3267</TotalTime>
  <Words>1972</Words>
  <Application>Microsoft Office PowerPoint</Application>
  <PresentationFormat>Widescreen</PresentationFormat>
  <Paragraphs>196</Paragraphs>
  <Slides>24</Slides>
  <Notes>9</Notes>
  <HiddenSlides>3</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24</vt:i4>
      </vt:variant>
    </vt:vector>
  </HeadingPairs>
  <TitlesOfParts>
    <vt:vector size="40" baseType="lpstr">
      <vt:lpstr>Arial</vt:lpstr>
      <vt:lpstr>Arial Regular</vt:lpstr>
      <vt:lpstr>Calibri</vt:lpstr>
      <vt:lpstr>Calibri Light</vt:lpstr>
      <vt:lpstr>Moderat Extended</vt:lpstr>
      <vt:lpstr>Roboto</vt:lpstr>
      <vt:lpstr>Roboto Medium</vt:lpstr>
      <vt:lpstr>Wingdings</vt:lpstr>
      <vt:lpstr>Font and logo master</vt:lpstr>
      <vt:lpstr>Custom Design</vt:lpstr>
      <vt:lpstr>Font WITHOUT logo master</vt:lpstr>
      <vt:lpstr>1_Font and logo master</vt:lpstr>
      <vt:lpstr>2_Font and logo master</vt:lpstr>
      <vt:lpstr>7_Font and logo master</vt:lpstr>
      <vt:lpstr>3_Font and logo master</vt:lpstr>
      <vt:lpstr>think-cell Slide</vt:lpstr>
      <vt:lpstr>PowerPoint Presentation</vt:lpstr>
      <vt:lpstr>Digital Teams in STFC</vt:lpstr>
      <vt:lpstr>Computing Advisory Panel - CAP</vt:lpstr>
      <vt:lpstr>CAP ToR – Purpose </vt:lpstr>
      <vt:lpstr> CAP ToR - Remit</vt:lpstr>
      <vt:lpstr>CAP ToR - Remit</vt:lpstr>
      <vt:lpstr>PowerPoint Presentation</vt:lpstr>
      <vt:lpstr>How we invest in Infrastructure</vt:lpstr>
      <vt:lpstr>PowerPoint Presentation</vt:lpstr>
      <vt:lpstr>Interconnected DRI</vt:lpstr>
      <vt:lpstr>Human DRI</vt:lpstr>
      <vt:lpstr>FAIR DRI</vt:lpstr>
      <vt:lpstr>Sustainable DRI</vt:lpstr>
      <vt:lpstr>PowerPoint Presentation</vt:lpstr>
      <vt:lpstr>PowerPoint Presentation</vt:lpstr>
      <vt:lpstr>PowerPoint Presentation</vt:lpstr>
      <vt:lpstr>UKRI, STFC, and the Spending Review</vt:lpstr>
      <vt:lpstr>UKRI, STFC, and the Spending Review</vt:lpstr>
      <vt:lpstr>£750m for a new supercomputer….</vt:lpstr>
      <vt:lpstr>PowerPoint Presentation</vt:lpstr>
      <vt:lpstr>Maximise our use of UKRI and national resources</vt:lpstr>
      <vt:lpstr>Maximise efficiency</vt:lpstr>
      <vt:lpstr>Summ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ip Millard</dc:creator>
  <cp:lastModifiedBy>Griffin, Tom (STFC,RAL,SC)</cp:lastModifiedBy>
  <cp:revision>30</cp:revision>
  <cp:lastPrinted>2019-10-02T08:27:37Z</cp:lastPrinted>
  <dcterms:created xsi:type="dcterms:W3CDTF">2019-09-17T08:04:08Z</dcterms:created>
  <dcterms:modified xsi:type="dcterms:W3CDTF">2025-07-01T14:4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19D85083640C458DB225BC1B6B112F</vt:lpwstr>
  </property>
  <property fmtid="{D5CDD505-2E9C-101B-9397-08002B2CF9AE}" pid="3" name="_dlc_DocIdItemGuid">
    <vt:lpwstr>7d6dd9f8-2757-4d2f-b6c5-c8fdb553a0d1</vt:lpwstr>
  </property>
  <property fmtid="{D5CDD505-2E9C-101B-9397-08002B2CF9AE}" pid="4" name="MediaServiceImageTags">
    <vt:lpwstr/>
  </property>
</Properties>
</file>